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Default Extension="bin" ContentType="application/vnd.openxmlformats-officedocument.oleObject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10"/>
  </p:notesMasterIdLst>
  <p:sldIdLst>
    <p:sldId id="350" r:id="rId2"/>
    <p:sldId id="349" r:id="rId3"/>
    <p:sldId id="335" r:id="rId4"/>
    <p:sldId id="344" r:id="rId5"/>
    <p:sldId id="345" r:id="rId6"/>
    <p:sldId id="346" r:id="rId7"/>
    <p:sldId id="347" r:id="rId8"/>
    <p:sldId id="287" r:id="rId9"/>
  </p:sldIdLst>
  <p:sldSz cx="16257588" cy="9144000"/>
  <p:notesSz cx="6867525" cy="9994900"/>
  <p:defaultTextStyle>
    <a:defPPr>
      <a:defRPr lang="en-GB"/>
    </a:defPPr>
    <a:lvl1pPr algn="l" defTabSz="457200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kern="1200">
        <a:solidFill>
          <a:schemeClr val="bg1"/>
        </a:solidFill>
        <a:latin typeface="Arial" charset="0"/>
        <a:ea typeface="Microsoft YaHei" charset="-122"/>
        <a:cs typeface="+mn-cs"/>
      </a:defRPr>
    </a:lvl1pPr>
    <a:lvl2pPr marL="742950" indent="-285750" algn="l" defTabSz="457200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kern="1200">
        <a:solidFill>
          <a:schemeClr val="bg1"/>
        </a:solidFill>
        <a:latin typeface="Arial" charset="0"/>
        <a:ea typeface="Microsoft YaHei" charset="-122"/>
        <a:cs typeface="+mn-cs"/>
      </a:defRPr>
    </a:lvl2pPr>
    <a:lvl3pPr marL="1143000" indent="-228600" algn="l" defTabSz="457200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kern="1200">
        <a:solidFill>
          <a:schemeClr val="bg1"/>
        </a:solidFill>
        <a:latin typeface="Arial" charset="0"/>
        <a:ea typeface="Microsoft YaHei" charset="-122"/>
        <a:cs typeface="+mn-cs"/>
      </a:defRPr>
    </a:lvl3pPr>
    <a:lvl4pPr marL="1600200" indent="-228600" algn="l" defTabSz="457200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kern="1200">
        <a:solidFill>
          <a:schemeClr val="bg1"/>
        </a:solidFill>
        <a:latin typeface="Arial" charset="0"/>
        <a:ea typeface="Microsoft YaHei" charset="-122"/>
        <a:cs typeface="+mn-cs"/>
      </a:defRPr>
    </a:lvl4pPr>
    <a:lvl5pPr marL="2057400" indent="-228600" algn="l" defTabSz="457200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kern="1200">
        <a:solidFill>
          <a:schemeClr val="bg1"/>
        </a:solidFill>
        <a:latin typeface="Arial" charset="0"/>
        <a:ea typeface="Microsoft YaHei" charset="-122"/>
        <a:cs typeface="+mn-cs"/>
      </a:defRPr>
    </a:lvl5pPr>
    <a:lvl6pPr marL="2286000" algn="l" defTabSz="914400" rtl="0" eaLnBrk="1" latinLnBrk="0" hangingPunct="1">
      <a:defRPr kern="1200">
        <a:solidFill>
          <a:schemeClr val="bg1"/>
        </a:solidFill>
        <a:latin typeface="Arial" charset="0"/>
        <a:ea typeface="Microsoft YaHei" charset="-122"/>
        <a:cs typeface="+mn-cs"/>
      </a:defRPr>
    </a:lvl6pPr>
    <a:lvl7pPr marL="2743200" algn="l" defTabSz="914400" rtl="0" eaLnBrk="1" latinLnBrk="0" hangingPunct="1">
      <a:defRPr kern="1200">
        <a:solidFill>
          <a:schemeClr val="bg1"/>
        </a:solidFill>
        <a:latin typeface="Arial" charset="0"/>
        <a:ea typeface="Microsoft YaHei" charset="-122"/>
        <a:cs typeface="+mn-cs"/>
      </a:defRPr>
    </a:lvl7pPr>
    <a:lvl8pPr marL="3200400" algn="l" defTabSz="914400" rtl="0" eaLnBrk="1" latinLnBrk="0" hangingPunct="1">
      <a:defRPr kern="1200">
        <a:solidFill>
          <a:schemeClr val="bg1"/>
        </a:solidFill>
        <a:latin typeface="Arial" charset="0"/>
        <a:ea typeface="Microsoft YaHei" charset="-122"/>
        <a:cs typeface="+mn-cs"/>
      </a:defRPr>
    </a:lvl8pPr>
    <a:lvl9pPr marL="3657600" algn="l" defTabSz="914400" rtl="0" eaLnBrk="1" latinLnBrk="0" hangingPunct="1">
      <a:defRPr kern="1200">
        <a:solidFill>
          <a:schemeClr val="bg1"/>
        </a:solidFill>
        <a:latin typeface="Arial" charset="0"/>
        <a:ea typeface="Microsoft YaHei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schemeClr val="tx1"/>
    </p:penClr>
  </p:showPr>
  <p:clrMru>
    <a:srgbClr val="ABDCE3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Estilo medio 4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Estilo medio 4 - Énfasi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88" autoAdjust="0"/>
    <p:restoredTop sz="94607" autoAdjust="0"/>
  </p:normalViewPr>
  <p:slideViewPr>
    <p:cSldViewPr>
      <p:cViewPr>
        <p:scale>
          <a:sx n="50" d="100"/>
          <a:sy n="50" d="100"/>
        </p:scale>
        <p:origin x="-756" y="-78"/>
      </p:cViewPr>
      <p:guideLst>
        <p:guide orient="horz" pos="2160"/>
        <p:guide pos="2880"/>
      </p:guideLst>
    </p:cSldViewPr>
  </p:slideViewPr>
  <p:outlineViewPr>
    <p:cViewPr varScale="1">
      <p:scale>
        <a:sx n="170" d="200"/>
        <a:sy n="170" d="200"/>
      </p:scale>
      <p:origin x="0" y="3717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9" d="100"/>
          <a:sy n="59" d="100"/>
        </p:scale>
        <p:origin x="-1752" y="-72"/>
      </p:cViewPr>
      <p:guideLst>
        <p:guide orient="horz" pos="2692"/>
        <p:guide pos="1962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image" Target="../media/image4.emf"/><Relationship Id="rId5" Type="http://schemas.openxmlformats.org/officeDocument/2006/relationships/image" Target="../media/image8.emf"/><Relationship Id="rId4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AutoShape 1"/>
          <p:cNvSpPr>
            <a:spLocks noChangeArrowheads="1"/>
          </p:cNvSpPr>
          <p:nvPr/>
        </p:nvSpPr>
        <p:spPr bwMode="auto">
          <a:xfrm>
            <a:off x="0" y="0"/>
            <a:ext cx="6867525" cy="9994900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lIns="84472" tIns="42236" rIns="84472" bIns="42236" anchor="ctr"/>
          <a:lstStyle/>
          <a:p>
            <a:pPr>
              <a:defRPr/>
            </a:pPr>
            <a:endParaRPr lang="es-ES"/>
          </a:p>
        </p:txBody>
      </p:sp>
      <p:sp>
        <p:nvSpPr>
          <p:cNvPr id="34819" name="AutoShape 2"/>
          <p:cNvSpPr>
            <a:spLocks noChangeArrowheads="1"/>
          </p:cNvSpPr>
          <p:nvPr/>
        </p:nvSpPr>
        <p:spPr bwMode="auto">
          <a:xfrm>
            <a:off x="0" y="0"/>
            <a:ext cx="6867525" cy="9994900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lIns="84472" tIns="42236" rIns="84472" bIns="42236" anchor="ctr"/>
          <a:lstStyle/>
          <a:p>
            <a:pPr>
              <a:defRPr/>
            </a:pPr>
            <a:endParaRPr lang="es-ES"/>
          </a:p>
        </p:txBody>
      </p:sp>
      <p:sp>
        <p:nvSpPr>
          <p:cNvPr id="34820" name="AutoShape 3"/>
          <p:cNvSpPr>
            <a:spLocks noChangeArrowheads="1"/>
          </p:cNvSpPr>
          <p:nvPr/>
        </p:nvSpPr>
        <p:spPr bwMode="auto">
          <a:xfrm>
            <a:off x="0" y="0"/>
            <a:ext cx="6867525" cy="9994900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lIns="84472" tIns="42236" rIns="84472" bIns="42236" anchor="ctr"/>
          <a:lstStyle/>
          <a:p>
            <a:pPr>
              <a:defRPr/>
            </a:pPr>
            <a:endParaRPr lang="es-ES"/>
          </a:p>
        </p:txBody>
      </p:sp>
      <p:sp>
        <p:nvSpPr>
          <p:cNvPr id="34821" name="AutoShape 4"/>
          <p:cNvSpPr>
            <a:spLocks noChangeArrowheads="1"/>
          </p:cNvSpPr>
          <p:nvPr/>
        </p:nvSpPr>
        <p:spPr bwMode="auto">
          <a:xfrm>
            <a:off x="0" y="0"/>
            <a:ext cx="6867525" cy="9994900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lIns="84472" tIns="42236" rIns="84472" bIns="42236" anchor="ctr"/>
          <a:lstStyle/>
          <a:p>
            <a:pPr>
              <a:defRPr/>
            </a:pPr>
            <a:endParaRPr lang="es-ES"/>
          </a:p>
        </p:txBody>
      </p:sp>
      <p:sp>
        <p:nvSpPr>
          <p:cNvPr id="34822" name="AutoShape 5"/>
          <p:cNvSpPr>
            <a:spLocks noChangeArrowheads="1"/>
          </p:cNvSpPr>
          <p:nvPr/>
        </p:nvSpPr>
        <p:spPr bwMode="auto">
          <a:xfrm>
            <a:off x="0" y="0"/>
            <a:ext cx="6867525" cy="9994900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lIns="84472" tIns="42236" rIns="84472" bIns="42236" anchor="ctr"/>
          <a:lstStyle/>
          <a:p>
            <a:pPr>
              <a:defRPr/>
            </a:pPr>
            <a:endParaRPr lang="es-ES"/>
          </a:p>
        </p:txBody>
      </p:sp>
      <p:sp>
        <p:nvSpPr>
          <p:cNvPr id="34823" name="AutoShape 6"/>
          <p:cNvSpPr>
            <a:spLocks noChangeArrowheads="1"/>
          </p:cNvSpPr>
          <p:nvPr/>
        </p:nvSpPr>
        <p:spPr bwMode="auto">
          <a:xfrm>
            <a:off x="0" y="0"/>
            <a:ext cx="6867525" cy="9994900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lIns="84472" tIns="42236" rIns="84472" bIns="42236" anchor="ctr"/>
          <a:lstStyle/>
          <a:p>
            <a:pPr>
              <a:defRPr/>
            </a:pPr>
            <a:endParaRPr lang="es-ES"/>
          </a:p>
        </p:txBody>
      </p:sp>
      <p:sp>
        <p:nvSpPr>
          <p:cNvPr id="34824" name="AutoShape 7"/>
          <p:cNvSpPr>
            <a:spLocks noChangeArrowheads="1"/>
          </p:cNvSpPr>
          <p:nvPr/>
        </p:nvSpPr>
        <p:spPr bwMode="auto">
          <a:xfrm>
            <a:off x="0" y="0"/>
            <a:ext cx="6867525" cy="9994900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lIns="84472" tIns="42236" rIns="84472" bIns="42236" anchor="ctr"/>
          <a:lstStyle/>
          <a:p>
            <a:pPr>
              <a:defRPr/>
            </a:pPr>
            <a:endParaRPr lang="es-ES"/>
          </a:p>
        </p:txBody>
      </p:sp>
      <p:sp>
        <p:nvSpPr>
          <p:cNvPr id="34825" name="AutoShape 8"/>
          <p:cNvSpPr>
            <a:spLocks noChangeArrowheads="1"/>
          </p:cNvSpPr>
          <p:nvPr/>
        </p:nvSpPr>
        <p:spPr bwMode="auto">
          <a:xfrm>
            <a:off x="0" y="0"/>
            <a:ext cx="6867525" cy="9994900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lIns="84472" tIns="42236" rIns="84472" bIns="42236" anchor="ctr"/>
          <a:lstStyle/>
          <a:p>
            <a:pPr>
              <a:defRPr/>
            </a:pPr>
            <a:endParaRPr lang="es-ES"/>
          </a:p>
        </p:txBody>
      </p:sp>
      <p:sp>
        <p:nvSpPr>
          <p:cNvPr id="34826" name="AutoShape 9"/>
          <p:cNvSpPr>
            <a:spLocks noChangeArrowheads="1"/>
          </p:cNvSpPr>
          <p:nvPr/>
        </p:nvSpPr>
        <p:spPr bwMode="auto">
          <a:xfrm>
            <a:off x="0" y="0"/>
            <a:ext cx="6867525" cy="9994900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lIns="84472" tIns="42236" rIns="84472" bIns="42236" anchor="ctr"/>
          <a:lstStyle/>
          <a:p>
            <a:pPr>
              <a:defRPr/>
            </a:pPr>
            <a:endParaRPr lang="es-ES"/>
          </a:p>
        </p:txBody>
      </p:sp>
      <p:sp>
        <p:nvSpPr>
          <p:cNvPr id="34827" name="AutoShape 10"/>
          <p:cNvSpPr>
            <a:spLocks noChangeArrowheads="1"/>
          </p:cNvSpPr>
          <p:nvPr/>
        </p:nvSpPr>
        <p:spPr bwMode="auto">
          <a:xfrm>
            <a:off x="0" y="0"/>
            <a:ext cx="6867525" cy="9994900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lIns="84472" tIns="42236" rIns="84472" bIns="42236" anchor="ctr"/>
          <a:lstStyle/>
          <a:p>
            <a:pPr>
              <a:defRPr/>
            </a:pPr>
            <a:endParaRPr lang="es-ES"/>
          </a:p>
        </p:txBody>
      </p:sp>
      <p:sp>
        <p:nvSpPr>
          <p:cNvPr id="34828" name="AutoShape 11"/>
          <p:cNvSpPr>
            <a:spLocks noChangeArrowheads="1"/>
          </p:cNvSpPr>
          <p:nvPr/>
        </p:nvSpPr>
        <p:spPr bwMode="auto">
          <a:xfrm>
            <a:off x="0" y="0"/>
            <a:ext cx="6867525" cy="9994900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lIns="84472" tIns="42236" rIns="84472" bIns="42236" anchor="ctr"/>
          <a:lstStyle/>
          <a:p>
            <a:pPr>
              <a:defRPr/>
            </a:pPr>
            <a:endParaRPr lang="es-ES"/>
          </a:p>
        </p:txBody>
      </p:sp>
      <p:sp>
        <p:nvSpPr>
          <p:cNvPr id="34829" name="AutoShape 12"/>
          <p:cNvSpPr>
            <a:spLocks noChangeArrowheads="1"/>
          </p:cNvSpPr>
          <p:nvPr/>
        </p:nvSpPr>
        <p:spPr bwMode="auto">
          <a:xfrm>
            <a:off x="0" y="0"/>
            <a:ext cx="6867525" cy="9994900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lIns="84472" tIns="42236" rIns="84472" bIns="42236" anchor="ctr"/>
          <a:lstStyle/>
          <a:p>
            <a:pPr>
              <a:defRPr/>
            </a:pPr>
            <a:endParaRPr lang="es-ES"/>
          </a:p>
        </p:txBody>
      </p:sp>
      <p:sp>
        <p:nvSpPr>
          <p:cNvPr id="34830" name="AutoShape 13"/>
          <p:cNvSpPr>
            <a:spLocks noChangeArrowheads="1"/>
          </p:cNvSpPr>
          <p:nvPr/>
        </p:nvSpPr>
        <p:spPr bwMode="auto">
          <a:xfrm>
            <a:off x="0" y="0"/>
            <a:ext cx="6867525" cy="9994900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lIns="84472" tIns="42236" rIns="84472" bIns="42236" anchor="ctr"/>
          <a:lstStyle/>
          <a:p>
            <a:pPr>
              <a:defRPr/>
            </a:pPr>
            <a:endParaRPr lang="es-ES"/>
          </a:p>
        </p:txBody>
      </p:sp>
      <p:sp>
        <p:nvSpPr>
          <p:cNvPr id="34831" name="AutoShape 14"/>
          <p:cNvSpPr>
            <a:spLocks noChangeArrowheads="1"/>
          </p:cNvSpPr>
          <p:nvPr/>
        </p:nvSpPr>
        <p:spPr bwMode="auto">
          <a:xfrm>
            <a:off x="0" y="0"/>
            <a:ext cx="6867525" cy="9994900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lIns="84472" tIns="42236" rIns="84472" bIns="42236" anchor="ctr"/>
          <a:lstStyle/>
          <a:p>
            <a:pPr>
              <a:defRPr/>
            </a:pPr>
            <a:endParaRPr lang="es-ES"/>
          </a:p>
        </p:txBody>
      </p:sp>
      <p:sp>
        <p:nvSpPr>
          <p:cNvPr id="34832" name="AutoShape 15"/>
          <p:cNvSpPr>
            <a:spLocks noChangeArrowheads="1"/>
          </p:cNvSpPr>
          <p:nvPr/>
        </p:nvSpPr>
        <p:spPr bwMode="auto">
          <a:xfrm>
            <a:off x="0" y="0"/>
            <a:ext cx="6867525" cy="9994900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lIns="84472" tIns="42236" rIns="84472" bIns="42236" anchor="ctr"/>
          <a:lstStyle/>
          <a:p>
            <a:pPr>
              <a:defRPr/>
            </a:pPr>
            <a:endParaRPr lang="es-ES"/>
          </a:p>
        </p:txBody>
      </p:sp>
      <p:sp>
        <p:nvSpPr>
          <p:cNvPr id="33809" name="Rectangle 16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112713" y="760413"/>
            <a:ext cx="6616700" cy="372268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sp>
      <p:sp>
        <p:nvSpPr>
          <p:cNvPr id="2065" name="Rectangle 17"/>
          <p:cNvSpPr>
            <a:spLocks noGrp="1" noChangeArrowheads="1"/>
          </p:cNvSpPr>
          <p:nvPr>
            <p:ph type="body"/>
          </p:nvPr>
        </p:nvSpPr>
        <p:spPr bwMode="auto">
          <a:xfrm>
            <a:off x="686465" y="4747392"/>
            <a:ext cx="5471522" cy="4474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" altLang="es-ES" noProof="0" smtClean="0"/>
          </a:p>
        </p:txBody>
      </p:sp>
      <p:sp>
        <p:nvSpPr>
          <p:cNvPr id="34835" name="Text Box 18"/>
          <p:cNvSpPr txBox="1">
            <a:spLocks noChangeArrowheads="1"/>
          </p:cNvSpPr>
          <p:nvPr/>
        </p:nvSpPr>
        <p:spPr bwMode="auto">
          <a:xfrm>
            <a:off x="0" y="0"/>
            <a:ext cx="2967948" cy="48676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84472" tIns="42236" rIns="84472" bIns="42236" anchor="ctr"/>
          <a:lstStyle/>
          <a:p>
            <a:pPr>
              <a:defRPr/>
            </a:pPr>
            <a:endParaRPr lang="es-ES"/>
          </a:p>
        </p:txBody>
      </p:sp>
      <p:sp>
        <p:nvSpPr>
          <p:cNvPr id="34836" name="Text Box 19"/>
          <p:cNvSpPr txBox="1">
            <a:spLocks noChangeArrowheads="1"/>
          </p:cNvSpPr>
          <p:nvPr/>
        </p:nvSpPr>
        <p:spPr bwMode="auto">
          <a:xfrm>
            <a:off x="3886599" y="0"/>
            <a:ext cx="2967948" cy="48676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84472" tIns="42236" rIns="84472" bIns="42236" anchor="ctr"/>
          <a:lstStyle/>
          <a:p>
            <a:pPr>
              <a:defRPr/>
            </a:pPr>
            <a:endParaRPr lang="es-ES"/>
          </a:p>
        </p:txBody>
      </p:sp>
      <p:sp>
        <p:nvSpPr>
          <p:cNvPr id="34837" name="Text Box 20"/>
          <p:cNvSpPr txBox="1">
            <a:spLocks noChangeArrowheads="1"/>
          </p:cNvSpPr>
          <p:nvPr/>
        </p:nvSpPr>
        <p:spPr bwMode="auto">
          <a:xfrm>
            <a:off x="0" y="9493300"/>
            <a:ext cx="2967948" cy="48676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84472" tIns="42236" rIns="84472" bIns="42236" anchor="ctr"/>
          <a:lstStyle/>
          <a:p>
            <a:pPr>
              <a:defRPr/>
            </a:pPr>
            <a:endParaRPr lang="es-ES"/>
          </a:p>
        </p:txBody>
      </p:sp>
      <p:sp>
        <p:nvSpPr>
          <p:cNvPr id="2069" name="Rectangle 21"/>
          <p:cNvSpPr>
            <a:spLocks noGrp="1" noChangeArrowheads="1"/>
          </p:cNvSpPr>
          <p:nvPr>
            <p:ph type="sldNum"/>
          </p:nvPr>
        </p:nvSpPr>
        <p:spPr bwMode="auto">
          <a:xfrm>
            <a:off x="3886599" y="9493301"/>
            <a:ext cx="2957852" cy="4763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buClrTx/>
              <a:buFontTx/>
              <a:buNone/>
              <a:tabLst>
                <a:tab pos="0" algn="l"/>
                <a:tab pos="422361" algn="l"/>
                <a:tab pos="844723" algn="l"/>
                <a:tab pos="1267084" algn="l"/>
                <a:tab pos="1689445" algn="l"/>
                <a:tab pos="2111807" algn="l"/>
                <a:tab pos="2534168" algn="l"/>
                <a:tab pos="2956530" algn="l"/>
                <a:tab pos="3378891" algn="l"/>
                <a:tab pos="3801252" algn="l"/>
                <a:tab pos="4223614" algn="l"/>
                <a:tab pos="4645975" algn="l"/>
                <a:tab pos="5068336" algn="l"/>
                <a:tab pos="5490698" algn="l"/>
                <a:tab pos="5913059" algn="l"/>
                <a:tab pos="6335420" algn="l"/>
                <a:tab pos="6757782" algn="l"/>
                <a:tab pos="7180143" algn="l"/>
                <a:tab pos="7602504" algn="l"/>
                <a:tab pos="8024866" algn="l"/>
                <a:tab pos="8447227" algn="l"/>
              </a:tabLst>
              <a:defRPr sz="1300">
                <a:solidFill>
                  <a:srgbClr val="000000"/>
                </a:solidFill>
                <a:latin typeface="Times New Roman" pitchFamily="16" charset="0"/>
                <a:cs typeface="Arial Unicode MS" charset="0"/>
              </a:defRPr>
            </a:lvl1pPr>
          </a:lstStyle>
          <a:p>
            <a:pPr>
              <a:defRPr/>
            </a:pPr>
            <a:fld id="{0CEA4CB9-7722-4853-9A2D-F8B4517C188B}" type="slidenum">
              <a:rPr lang="en-US" altLang="es-ES"/>
              <a:pPr>
                <a:defRPr/>
              </a:pPr>
              <a:t>‹Nº›</a:t>
            </a:fld>
            <a:endParaRPr lang="en-US" altLang="es-E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1pPr>
    <a:lvl2pPr marL="742950" indent="-285750"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2pPr>
    <a:lvl3pPr marL="1143000" indent="-228600"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3pPr>
    <a:lvl4pPr marL="1600200" indent="-228600"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4pPr>
    <a:lvl5pPr marL="2057400" indent="-228600"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1"/>
          <p:cNvSpPr>
            <a:spLocks noGrp="1" noChangeArrowheads="1"/>
          </p:cNvSpPr>
          <p:nvPr>
            <p:ph type="sldNum" sz="quarter"/>
          </p:nvPr>
        </p:nvSpPr>
        <p:spPr>
          <a:noFill/>
          <a:ln>
            <a:round/>
            <a:headEnd/>
            <a:tailEnd/>
          </a:ln>
        </p:spPr>
        <p:txBody>
          <a:bodyPr/>
          <a:lstStyle/>
          <a:p>
            <a:fld id="{6331D9BF-59EB-42FA-894A-9A55A42CCB66}" type="slidenum">
              <a:rPr lang="en-US" altLang="es-ES" smtClean="0"/>
              <a:pPr/>
              <a:t>1</a:t>
            </a:fld>
            <a:endParaRPr lang="en-US" altLang="es-ES" smtClean="0"/>
          </a:p>
        </p:txBody>
      </p:sp>
      <p:sp>
        <p:nvSpPr>
          <p:cNvPr id="34819" name="Text Box 1"/>
          <p:cNvSpPr txBox="1">
            <a:spLocks noChangeArrowheads="1"/>
          </p:cNvSpPr>
          <p:nvPr/>
        </p:nvSpPr>
        <p:spPr bwMode="auto">
          <a:xfrm>
            <a:off x="3886598" y="9493300"/>
            <a:ext cx="2959295" cy="477856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 anchor="b"/>
          <a:lstStyle/>
          <a:p>
            <a:pPr algn="r">
              <a:buClrTx/>
              <a:tabLst>
                <a:tab pos="0" algn="l"/>
                <a:tab pos="422361" algn="l"/>
                <a:tab pos="844723" algn="l"/>
                <a:tab pos="1267084" algn="l"/>
                <a:tab pos="1689445" algn="l"/>
                <a:tab pos="2111807" algn="l"/>
                <a:tab pos="2534168" algn="l"/>
                <a:tab pos="2956530" algn="l"/>
                <a:tab pos="3378891" algn="l"/>
                <a:tab pos="3801252" algn="l"/>
                <a:tab pos="4223614" algn="l"/>
                <a:tab pos="4645975" algn="l"/>
                <a:tab pos="5068336" algn="l"/>
                <a:tab pos="5490698" algn="l"/>
                <a:tab pos="5913059" algn="l"/>
                <a:tab pos="6335420" algn="l"/>
                <a:tab pos="6757782" algn="l"/>
                <a:tab pos="7180143" algn="l"/>
                <a:tab pos="7602504" algn="l"/>
                <a:tab pos="8024866" algn="l"/>
                <a:tab pos="8447227" algn="l"/>
              </a:tabLst>
            </a:pPr>
            <a:fld id="{C4E66F82-8E02-4DB9-80B1-8851B8370D37}" type="slidenum">
              <a:rPr lang="en-US" altLang="es-ES" sz="1300">
                <a:solidFill>
                  <a:srgbClr val="000000"/>
                </a:solidFill>
                <a:latin typeface="Times New Roman" pitchFamily="16" charset="0"/>
                <a:cs typeface="Arial Unicode MS" charset="0"/>
              </a:rPr>
              <a:pPr algn="r">
                <a:buClrTx/>
                <a:tabLst>
                  <a:tab pos="0" algn="l"/>
                  <a:tab pos="422361" algn="l"/>
                  <a:tab pos="844723" algn="l"/>
                  <a:tab pos="1267084" algn="l"/>
                  <a:tab pos="1689445" algn="l"/>
                  <a:tab pos="2111807" algn="l"/>
                  <a:tab pos="2534168" algn="l"/>
                  <a:tab pos="2956530" algn="l"/>
                  <a:tab pos="3378891" algn="l"/>
                  <a:tab pos="3801252" algn="l"/>
                  <a:tab pos="4223614" algn="l"/>
                  <a:tab pos="4645975" algn="l"/>
                  <a:tab pos="5068336" algn="l"/>
                  <a:tab pos="5490698" algn="l"/>
                  <a:tab pos="5913059" algn="l"/>
                  <a:tab pos="6335420" algn="l"/>
                  <a:tab pos="6757782" algn="l"/>
                  <a:tab pos="7180143" algn="l"/>
                  <a:tab pos="7602504" algn="l"/>
                  <a:tab pos="8024866" algn="l"/>
                  <a:tab pos="8447227" algn="l"/>
                </a:tabLst>
              </a:pPr>
              <a:t>1</a:t>
            </a:fld>
            <a:endParaRPr lang="en-US" altLang="es-ES" sz="1300" dirty="0">
              <a:solidFill>
                <a:srgbClr val="000000"/>
              </a:solidFill>
              <a:latin typeface="Times New Roman" pitchFamily="16" charset="0"/>
              <a:cs typeface="Arial Unicode MS" charset="0"/>
            </a:endParaRPr>
          </a:p>
        </p:txBody>
      </p:sp>
      <p:sp>
        <p:nvSpPr>
          <p:cNvPr id="34820" name="Text Box 2"/>
          <p:cNvSpPr txBox="1">
            <a:spLocks noChangeArrowheads="1"/>
          </p:cNvSpPr>
          <p:nvPr/>
        </p:nvSpPr>
        <p:spPr bwMode="auto">
          <a:xfrm>
            <a:off x="3886599" y="9493300"/>
            <a:ext cx="2967948" cy="48676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 anchor="b"/>
          <a:lstStyle/>
          <a:p>
            <a:pPr algn="r">
              <a:buClrTx/>
              <a:tabLst>
                <a:tab pos="0" algn="l"/>
                <a:tab pos="422361" algn="l"/>
                <a:tab pos="844723" algn="l"/>
                <a:tab pos="1267084" algn="l"/>
                <a:tab pos="1689445" algn="l"/>
                <a:tab pos="2111807" algn="l"/>
                <a:tab pos="2534168" algn="l"/>
                <a:tab pos="2956530" algn="l"/>
                <a:tab pos="3378891" algn="l"/>
                <a:tab pos="3801252" algn="l"/>
                <a:tab pos="4223614" algn="l"/>
                <a:tab pos="4645975" algn="l"/>
                <a:tab pos="5068336" algn="l"/>
                <a:tab pos="5490698" algn="l"/>
                <a:tab pos="5913059" algn="l"/>
                <a:tab pos="6335420" algn="l"/>
                <a:tab pos="6757782" algn="l"/>
                <a:tab pos="7180143" algn="l"/>
                <a:tab pos="7602504" algn="l"/>
                <a:tab pos="8024866" algn="l"/>
                <a:tab pos="8447227" algn="l"/>
              </a:tabLst>
            </a:pPr>
            <a:fld id="{94C660A5-12F5-4FFC-B62E-596B9FFDF4CF}" type="slidenum">
              <a:rPr lang="en-US" altLang="es-ES" sz="1300">
                <a:solidFill>
                  <a:srgbClr val="000000"/>
                </a:solidFill>
                <a:latin typeface="Times New Roman" pitchFamily="16" charset="0"/>
                <a:cs typeface="Arial Unicode MS" charset="0"/>
              </a:rPr>
              <a:pPr algn="r">
                <a:buClrTx/>
                <a:tabLst>
                  <a:tab pos="0" algn="l"/>
                  <a:tab pos="422361" algn="l"/>
                  <a:tab pos="844723" algn="l"/>
                  <a:tab pos="1267084" algn="l"/>
                  <a:tab pos="1689445" algn="l"/>
                  <a:tab pos="2111807" algn="l"/>
                  <a:tab pos="2534168" algn="l"/>
                  <a:tab pos="2956530" algn="l"/>
                  <a:tab pos="3378891" algn="l"/>
                  <a:tab pos="3801252" algn="l"/>
                  <a:tab pos="4223614" algn="l"/>
                  <a:tab pos="4645975" algn="l"/>
                  <a:tab pos="5068336" algn="l"/>
                  <a:tab pos="5490698" algn="l"/>
                  <a:tab pos="5913059" algn="l"/>
                  <a:tab pos="6335420" algn="l"/>
                  <a:tab pos="6757782" algn="l"/>
                  <a:tab pos="7180143" algn="l"/>
                  <a:tab pos="7602504" algn="l"/>
                  <a:tab pos="8024866" algn="l"/>
                  <a:tab pos="8447227" algn="l"/>
                </a:tabLst>
              </a:pPr>
              <a:t>1</a:t>
            </a:fld>
            <a:endParaRPr lang="en-US" altLang="es-ES" sz="1300" dirty="0">
              <a:solidFill>
                <a:srgbClr val="000000"/>
              </a:solidFill>
              <a:latin typeface="Times New Roman" pitchFamily="16" charset="0"/>
              <a:cs typeface="Arial Unicode MS" charset="0"/>
            </a:endParaRPr>
          </a:p>
        </p:txBody>
      </p:sp>
      <p:sp>
        <p:nvSpPr>
          <p:cNvPr id="34821" name="Rectangle 3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4775" y="760413"/>
            <a:ext cx="6657975" cy="3746500"/>
          </a:xfrm>
          <a:solidFill>
            <a:srgbClr val="FFFFFF"/>
          </a:solidFill>
          <a:ln>
            <a:solidFill>
              <a:srgbClr val="000000"/>
            </a:solidFill>
            <a:miter lim="800000"/>
          </a:ln>
        </p:spPr>
      </p:sp>
      <p:sp>
        <p:nvSpPr>
          <p:cNvPr id="34822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686464" y="4747392"/>
            <a:ext cx="5494597" cy="4498075"/>
          </a:xfrm>
          <a:noFill/>
        </p:spPr>
        <p:txBody>
          <a:bodyPr wrap="none" anchor="ctr"/>
          <a:lstStyle/>
          <a:p>
            <a:endParaRPr lang="es-ES" altLang="es-E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1"/>
          <p:cNvSpPr>
            <a:spLocks noGrp="1" noChangeArrowheads="1"/>
          </p:cNvSpPr>
          <p:nvPr>
            <p:ph type="sldNum" sz="quarter"/>
          </p:nvPr>
        </p:nvSpPr>
        <p:spPr>
          <a:noFill/>
          <a:ln/>
        </p:spPr>
        <p:txBody>
          <a:bodyPr/>
          <a:lstStyle/>
          <a:p>
            <a:fld id="{58A1033B-21FC-4FFE-8103-CC7BDE7D39CD}" type="slidenum">
              <a:rPr lang="en-US" altLang="es-ES" smtClean="0"/>
              <a:pPr/>
              <a:t>2</a:t>
            </a:fld>
            <a:endParaRPr lang="en-US" altLang="es-ES" smtClean="0"/>
          </a:p>
        </p:txBody>
      </p:sp>
      <p:sp>
        <p:nvSpPr>
          <p:cNvPr id="37891" name="Text Box 1"/>
          <p:cNvSpPr txBox="1">
            <a:spLocks noChangeArrowheads="1"/>
          </p:cNvSpPr>
          <p:nvPr/>
        </p:nvSpPr>
        <p:spPr bwMode="auto">
          <a:xfrm>
            <a:off x="3886598" y="9493300"/>
            <a:ext cx="2959295" cy="477856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 anchor="b"/>
          <a:lstStyle/>
          <a:p>
            <a:pPr algn="r">
              <a:buClrTx/>
              <a:tabLst>
                <a:tab pos="0" algn="l"/>
                <a:tab pos="422361" algn="l"/>
                <a:tab pos="844723" algn="l"/>
                <a:tab pos="1267084" algn="l"/>
                <a:tab pos="1689445" algn="l"/>
                <a:tab pos="2111807" algn="l"/>
                <a:tab pos="2534168" algn="l"/>
                <a:tab pos="2956530" algn="l"/>
                <a:tab pos="3378891" algn="l"/>
                <a:tab pos="3801252" algn="l"/>
                <a:tab pos="4223614" algn="l"/>
                <a:tab pos="4645975" algn="l"/>
                <a:tab pos="5068336" algn="l"/>
                <a:tab pos="5490698" algn="l"/>
                <a:tab pos="5913059" algn="l"/>
                <a:tab pos="6335420" algn="l"/>
                <a:tab pos="6757782" algn="l"/>
                <a:tab pos="7180143" algn="l"/>
                <a:tab pos="7602504" algn="l"/>
                <a:tab pos="8024866" algn="l"/>
                <a:tab pos="8447227" algn="l"/>
              </a:tabLst>
            </a:pPr>
            <a:fld id="{F1B563AD-537F-480F-A1CA-CA16AF6EDFA8}" type="slidenum">
              <a:rPr lang="en-US" altLang="es-ES" sz="1300">
                <a:solidFill>
                  <a:srgbClr val="000000"/>
                </a:solidFill>
                <a:latin typeface="Times New Roman" pitchFamily="16" charset="0"/>
                <a:cs typeface="Arial Unicode MS" charset="0"/>
              </a:rPr>
              <a:pPr algn="r">
                <a:buClrTx/>
                <a:tabLst>
                  <a:tab pos="0" algn="l"/>
                  <a:tab pos="422361" algn="l"/>
                  <a:tab pos="844723" algn="l"/>
                  <a:tab pos="1267084" algn="l"/>
                  <a:tab pos="1689445" algn="l"/>
                  <a:tab pos="2111807" algn="l"/>
                  <a:tab pos="2534168" algn="l"/>
                  <a:tab pos="2956530" algn="l"/>
                  <a:tab pos="3378891" algn="l"/>
                  <a:tab pos="3801252" algn="l"/>
                  <a:tab pos="4223614" algn="l"/>
                  <a:tab pos="4645975" algn="l"/>
                  <a:tab pos="5068336" algn="l"/>
                  <a:tab pos="5490698" algn="l"/>
                  <a:tab pos="5913059" algn="l"/>
                  <a:tab pos="6335420" algn="l"/>
                  <a:tab pos="6757782" algn="l"/>
                  <a:tab pos="7180143" algn="l"/>
                  <a:tab pos="7602504" algn="l"/>
                  <a:tab pos="8024866" algn="l"/>
                  <a:tab pos="8447227" algn="l"/>
                </a:tabLst>
              </a:pPr>
              <a:t>2</a:t>
            </a:fld>
            <a:endParaRPr lang="en-US" altLang="es-ES" sz="1300" dirty="0">
              <a:solidFill>
                <a:srgbClr val="000000"/>
              </a:solidFill>
              <a:latin typeface="Times New Roman" pitchFamily="16" charset="0"/>
              <a:cs typeface="Arial Unicode MS" charset="0"/>
            </a:endParaRPr>
          </a:p>
        </p:txBody>
      </p:sp>
      <p:sp>
        <p:nvSpPr>
          <p:cNvPr id="37892" name="Text Box 2"/>
          <p:cNvSpPr txBox="1">
            <a:spLocks noChangeArrowheads="1"/>
          </p:cNvSpPr>
          <p:nvPr/>
        </p:nvSpPr>
        <p:spPr bwMode="auto">
          <a:xfrm>
            <a:off x="3886599" y="9493300"/>
            <a:ext cx="2967948" cy="48676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 anchor="b"/>
          <a:lstStyle/>
          <a:p>
            <a:pPr algn="r">
              <a:buClrTx/>
              <a:tabLst>
                <a:tab pos="0" algn="l"/>
                <a:tab pos="422361" algn="l"/>
                <a:tab pos="844723" algn="l"/>
                <a:tab pos="1267084" algn="l"/>
                <a:tab pos="1689445" algn="l"/>
                <a:tab pos="2111807" algn="l"/>
                <a:tab pos="2534168" algn="l"/>
                <a:tab pos="2956530" algn="l"/>
                <a:tab pos="3378891" algn="l"/>
                <a:tab pos="3801252" algn="l"/>
                <a:tab pos="4223614" algn="l"/>
                <a:tab pos="4645975" algn="l"/>
                <a:tab pos="5068336" algn="l"/>
                <a:tab pos="5490698" algn="l"/>
                <a:tab pos="5913059" algn="l"/>
                <a:tab pos="6335420" algn="l"/>
                <a:tab pos="6757782" algn="l"/>
                <a:tab pos="7180143" algn="l"/>
                <a:tab pos="7602504" algn="l"/>
                <a:tab pos="8024866" algn="l"/>
                <a:tab pos="8447227" algn="l"/>
              </a:tabLst>
            </a:pPr>
            <a:fld id="{4F0222F4-95A7-4B74-9DC4-839C507503DB}" type="slidenum">
              <a:rPr lang="en-US" altLang="es-ES" sz="1300">
                <a:solidFill>
                  <a:srgbClr val="000000"/>
                </a:solidFill>
                <a:latin typeface="Times New Roman" pitchFamily="16" charset="0"/>
                <a:cs typeface="Arial Unicode MS" charset="0"/>
              </a:rPr>
              <a:pPr algn="r">
                <a:buClrTx/>
                <a:tabLst>
                  <a:tab pos="0" algn="l"/>
                  <a:tab pos="422361" algn="l"/>
                  <a:tab pos="844723" algn="l"/>
                  <a:tab pos="1267084" algn="l"/>
                  <a:tab pos="1689445" algn="l"/>
                  <a:tab pos="2111807" algn="l"/>
                  <a:tab pos="2534168" algn="l"/>
                  <a:tab pos="2956530" algn="l"/>
                  <a:tab pos="3378891" algn="l"/>
                  <a:tab pos="3801252" algn="l"/>
                  <a:tab pos="4223614" algn="l"/>
                  <a:tab pos="4645975" algn="l"/>
                  <a:tab pos="5068336" algn="l"/>
                  <a:tab pos="5490698" algn="l"/>
                  <a:tab pos="5913059" algn="l"/>
                  <a:tab pos="6335420" algn="l"/>
                  <a:tab pos="6757782" algn="l"/>
                  <a:tab pos="7180143" algn="l"/>
                  <a:tab pos="7602504" algn="l"/>
                  <a:tab pos="8024866" algn="l"/>
                  <a:tab pos="8447227" algn="l"/>
                </a:tabLst>
              </a:pPr>
              <a:t>2</a:t>
            </a:fld>
            <a:endParaRPr lang="en-US" altLang="es-ES" sz="1300" dirty="0">
              <a:solidFill>
                <a:srgbClr val="000000"/>
              </a:solidFill>
              <a:latin typeface="Times New Roman" pitchFamily="16" charset="0"/>
              <a:cs typeface="Arial Unicode MS" charset="0"/>
            </a:endParaRPr>
          </a:p>
        </p:txBody>
      </p:sp>
      <p:sp>
        <p:nvSpPr>
          <p:cNvPr id="37893" name="Rectangle 3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4775" y="760413"/>
            <a:ext cx="6657975" cy="3746500"/>
          </a:xfrm>
          <a:solidFill>
            <a:srgbClr val="FFFFFF"/>
          </a:solidFill>
          <a:ln>
            <a:solidFill>
              <a:srgbClr val="000000"/>
            </a:solidFill>
            <a:miter lim="800000"/>
          </a:ln>
        </p:spPr>
      </p:sp>
      <p:sp>
        <p:nvSpPr>
          <p:cNvPr id="37894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686464" y="4747392"/>
            <a:ext cx="5494597" cy="4498075"/>
          </a:xfrm>
          <a:noFill/>
          <a:ln/>
        </p:spPr>
        <p:txBody>
          <a:bodyPr wrap="none" anchor="ctr"/>
          <a:lstStyle/>
          <a:p>
            <a:endParaRPr lang="es-ES" altLang="es-E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1"/>
          <p:cNvSpPr>
            <a:spLocks noGrp="1" noChangeArrowheads="1"/>
          </p:cNvSpPr>
          <p:nvPr>
            <p:ph type="sldNum" sz="quarter"/>
          </p:nvPr>
        </p:nvSpPr>
        <p:spPr>
          <a:noFill/>
          <a:ln>
            <a:round/>
            <a:headEnd/>
            <a:tailEnd/>
          </a:ln>
        </p:spPr>
        <p:txBody>
          <a:bodyPr/>
          <a:lstStyle/>
          <a:p>
            <a:fld id="{B22EACD9-E21E-47E0-8A4F-D62CC9D822AC}" type="slidenum">
              <a:rPr lang="en-US" altLang="es-ES" smtClean="0"/>
              <a:pPr/>
              <a:t>3</a:t>
            </a:fld>
            <a:endParaRPr lang="en-US" altLang="es-ES" smtClean="0"/>
          </a:p>
        </p:txBody>
      </p:sp>
      <p:sp>
        <p:nvSpPr>
          <p:cNvPr id="50179" name="Text Box 1"/>
          <p:cNvSpPr txBox="1">
            <a:spLocks noChangeArrowheads="1"/>
          </p:cNvSpPr>
          <p:nvPr/>
        </p:nvSpPr>
        <p:spPr bwMode="auto">
          <a:xfrm>
            <a:off x="3886598" y="9493300"/>
            <a:ext cx="2959295" cy="477856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 anchor="b"/>
          <a:lstStyle/>
          <a:p>
            <a:pPr algn="r">
              <a:buClrTx/>
              <a:tabLst>
                <a:tab pos="0" algn="l"/>
                <a:tab pos="422361" algn="l"/>
                <a:tab pos="844723" algn="l"/>
                <a:tab pos="1267084" algn="l"/>
                <a:tab pos="1689445" algn="l"/>
                <a:tab pos="2111807" algn="l"/>
                <a:tab pos="2534168" algn="l"/>
                <a:tab pos="2956530" algn="l"/>
                <a:tab pos="3378891" algn="l"/>
                <a:tab pos="3801252" algn="l"/>
                <a:tab pos="4223614" algn="l"/>
                <a:tab pos="4645975" algn="l"/>
                <a:tab pos="5068336" algn="l"/>
                <a:tab pos="5490698" algn="l"/>
                <a:tab pos="5913059" algn="l"/>
                <a:tab pos="6335420" algn="l"/>
                <a:tab pos="6757782" algn="l"/>
                <a:tab pos="7180143" algn="l"/>
                <a:tab pos="7602504" algn="l"/>
                <a:tab pos="8024866" algn="l"/>
                <a:tab pos="8447227" algn="l"/>
              </a:tabLst>
            </a:pPr>
            <a:fld id="{68E433CD-DAEA-4423-9CAF-178E9EB2889B}" type="slidenum">
              <a:rPr lang="en-US" altLang="es-ES" sz="1300">
                <a:solidFill>
                  <a:srgbClr val="000000"/>
                </a:solidFill>
                <a:latin typeface="Times New Roman" pitchFamily="16" charset="0"/>
                <a:cs typeface="Arial Unicode MS" charset="0"/>
              </a:rPr>
              <a:pPr algn="r">
                <a:buClrTx/>
                <a:tabLst>
                  <a:tab pos="0" algn="l"/>
                  <a:tab pos="422361" algn="l"/>
                  <a:tab pos="844723" algn="l"/>
                  <a:tab pos="1267084" algn="l"/>
                  <a:tab pos="1689445" algn="l"/>
                  <a:tab pos="2111807" algn="l"/>
                  <a:tab pos="2534168" algn="l"/>
                  <a:tab pos="2956530" algn="l"/>
                  <a:tab pos="3378891" algn="l"/>
                  <a:tab pos="3801252" algn="l"/>
                  <a:tab pos="4223614" algn="l"/>
                  <a:tab pos="4645975" algn="l"/>
                  <a:tab pos="5068336" algn="l"/>
                  <a:tab pos="5490698" algn="l"/>
                  <a:tab pos="5913059" algn="l"/>
                  <a:tab pos="6335420" algn="l"/>
                  <a:tab pos="6757782" algn="l"/>
                  <a:tab pos="7180143" algn="l"/>
                  <a:tab pos="7602504" algn="l"/>
                  <a:tab pos="8024866" algn="l"/>
                  <a:tab pos="8447227" algn="l"/>
                </a:tabLst>
              </a:pPr>
              <a:t>3</a:t>
            </a:fld>
            <a:endParaRPr lang="en-US" altLang="es-ES" sz="1300" dirty="0">
              <a:solidFill>
                <a:srgbClr val="000000"/>
              </a:solidFill>
              <a:latin typeface="Times New Roman" pitchFamily="16" charset="0"/>
              <a:cs typeface="Arial Unicode MS" charset="0"/>
            </a:endParaRPr>
          </a:p>
        </p:txBody>
      </p:sp>
      <p:sp>
        <p:nvSpPr>
          <p:cNvPr id="50180" name="Text Box 2"/>
          <p:cNvSpPr txBox="1">
            <a:spLocks noChangeArrowheads="1"/>
          </p:cNvSpPr>
          <p:nvPr/>
        </p:nvSpPr>
        <p:spPr bwMode="auto">
          <a:xfrm>
            <a:off x="3886599" y="9493300"/>
            <a:ext cx="2967948" cy="48676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 anchor="b"/>
          <a:lstStyle/>
          <a:p>
            <a:pPr algn="r">
              <a:buClrTx/>
              <a:tabLst>
                <a:tab pos="0" algn="l"/>
                <a:tab pos="422361" algn="l"/>
                <a:tab pos="844723" algn="l"/>
                <a:tab pos="1267084" algn="l"/>
                <a:tab pos="1689445" algn="l"/>
                <a:tab pos="2111807" algn="l"/>
                <a:tab pos="2534168" algn="l"/>
                <a:tab pos="2956530" algn="l"/>
                <a:tab pos="3378891" algn="l"/>
                <a:tab pos="3801252" algn="l"/>
                <a:tab pos="4223614" algn="l"/>
                <a:tab pos="4645975" algn="l"/>
                <a:tab pos="5068336" algn="l"/>
                <a:tab pos="5490698" algn="l"/>
                <a:tab pos="5913059" algn="l"/>
                <a:tab pos="6335420" algn="l"/>
                <a:tab pos="6757782" algn="l"/>
                <a:tab pos="7180143" algn="l"/>
                <a:tab pos="7602504" algn="l"/>
                <a:tab pos="8024866" algn="l"/>
                <a:tab pos="8447227" algn="l"/>
              </a:tabLst>
            </a:pPr>
            <a:fld id="{9A58E163-4FAC-461C-B42B-D4FD1124405B}" type="slidenum">
              <a:rPr lang="en-US" altLang="es-ES" sz="1300">
                <a:solidFill>
                  <a:srgbClr val="000000"/>
                </a:solidFill>
                <a:latin typeface="Times New Roman" pitchFamily="16" charset="0"/>
                <a:cs typeface="Arial Unicode MS" charset="0"/>
              </a:rPr>
              <a:pPr algn="r">
                <a:buClrTx/>
                <a:tabLst>
                  <a:tab pos="0" algn="l"/>
                  <a:tab pos="422361" algn="l"/>
                  <a:tab pos="844723" algn="l"/>
                  <a:tab pos="1267084" algn="l"/>
                  <a:tab pos="1689445" algn="l"/>
                  <a:tab pos="2111807" algn="l"/>
                  <a:tab pos="2534168" algn="l"/>
                  <a:tab pos="2956530" algn="l"/>
                  <a:tab pos="3378891" algn="l"/>
                  <a:tab pos="3801252" algn="l"/>
                  <a:tab pos="4223614" algn="l"/>
                  <a:tab pos="4645975" algn="l"/>
                  <a:tab pos="5068336" algn="l"/>
                  <a:tab pos="5490698" algn="l"/>
                  <a:tab pos="5913059" algn="l"/>
                  <a:tab pos="6335420" algn="l"/>
                  <a:tab pos="6757782" algn="l"/>
                  <a:tab pos="7180143" algn="l"/>
                  <a:tab pos="7602504" algn="l"/>
                  <a:tab pos="8024866" algn="l"/>
                  <a:tab pos="8447227" algn="l"/>
                </a:tabLst>
              </a:pPr>
              <a:t>3</a:t>
            </a:fld>
            <a:endParaRPr lang="en-US" altLang="es-ES" sz="1300" dirty="0">
              <a:solidFill>
                <a:srgbClr val="000000"/>
              </a:solidFill>
              <a:latin typeface="Times New Roman" pitchFamily="16" charset="0"/>
              <a:cs typeface="Arial Unicode MS" charset="0"/>
            </a:endParaRPr>
          </a:p>
        </p:txBody>
      </p:sp>
      <p:sp>
        <p:nvSpPr>
          <p:cNvPr id="50181" name="Rectangle 3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4775" y="760413"/>
            <a:ext cx="6657975" cy="3746500"/>
          </a:xfrm>
          <a:solidFill>
            <a:srgbClr val="FFFFFF"/>
          </a:solidFill>
          <a:ln>
            <a:solidFill>
              <a:srgbClr val="000000"/>
            </a:solidFill>
            <a:miter lim="800000"/>
          </a:ln>
        </p:spPr>
      </p:sp>
      <p:sp>
        <p:nvSpPr>
          <p:cNvPr id="50182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686464" y="4747392"/>
            <a:ext cx="5494597" cy="4498075"/>
          </a:xfrm>
          <a:noFill/>
        </p:spPr>
        <p:txBody>
          <a:bodyPr wrap="none" anchor="ctr"/>
          <a:lstStyle/>
          <a:p>
            <a:endParaRPr lang="es-ES" altLang="es-ES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1"/>
          <p:cNvSpPr>
            <a:spLocks noGrp="1" noChangeArrowheads="1"/>
          </p:cNvSpPr>
          <p:nvPr>
            <p:ph type="sldNum" sz="quarter"/>
          </p:nvPr>
        </p:nvSpPr>
        <p:spPr>
          <a:noFill/>
          <a:ln>
            <a:round/>
            <a:headEnd/>
            <a:tailEnd/>
          </a:ln>
        </p:spPr>
        <p:txBody>
          <a:bodyPr/>
          <a:lstStyle/>
          <a:p>
            <a:fld id="{B22EACD9-E21E-47E0-8A4F-D62CC9D822AC}" type="slidenum">
              <a:rPr lang="en-US" altLang="es-ES" smtClean="0"/>
              <a:pPr/>
              <a:t>4</a:t>
            </a:fld>
            <a:endParaRPr lang="en-US" altLang="es-ES" smtClean="0"/>
          </a:p>
        </p:txBody>
      </p:sp>
      <p:sp>
        <p:nvSpPr>
          <p:cNvPr id="50179" name="Text Box 1"/>
          <p:cNvSpPr txBox="1">
            <a:spLocks noChangeArrowheads="1"/>
          </p:cNvSpPr>
          <p:nvPr/>
        </p:nvSpPr>
        <p:spPr bwMode="auto">
          <a:xfrm>
            <a:off x="3886598" y="9493300"/>
            <a:ext cx="2959295" cy="477856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 anchor="b"/>
          <a:lstStyle/>
          <a:p>
            <a:pPr algn="r">
              <a:buClrTx/>
              <a:tabLst>
                <a:tab pos="0" algn="l"/>
                <a:tab pos="422361" algn="l"/>
                <a:tab pos="844723" algn="l"/>
                <a:tab pos="1267084" algn="l"/>
                <a:tab pos="1689445" algn="l"/>
                <a:tab pos="2111807" algn="l"/>
                <a:tab pos="2534168" algn="l"/>
                <a:tab pos="2956530" algn="l"/>
                <a:tab pos="3378891" algn="l"/>
                <a:tab pos="3801252" algn="l"/>
                <a:tab pos="4223614" algn="l"/>
                <a:tab pos="4645975" algn="l"/>
                <a:tab pos="5068336" algn="l"/>
                <a:tab pos="5490698" algn="l"/>
                <a:tab pos="5913059" algn="l"/>
                <a:tab pos="6335420" algn="l"/>
                <a:tab pos="6757782" algn="l"/>
                <a:tab pos="7180143" algn="l"/>
                <a:tab pos="7602504" algn="l"/>
                <a:tab pos="8024866" algn="l"/>
                <a:tab pos="8447227" algn="l"/>
              </a:tabLst>
            </a:pPr>
            <a:fld id="{68E433CD-DAEA-4423-9CAF-178E9EB2889B}" type="slidenum">
              <a:rPr lang="en-US" altLang="es-ES" sz="1300">
                <a:solidFill>
                  <a:srgbClr val="000000"/>
                </a:solidFill>
                <a:latin typeface="Times New Roman" pitchFamily="16" charset="0"/>
                <a:cs typeface="Arial Unicode MS" charset="0"/>
              </a:rPr>
              <a:pPr algn="r">
                <a:buClrTx/>
                <a:tabLst>
                  <a:tab pos="0" algn="l"/>
                  <a:tab pos="422361" algn="l"/>
                  <a:tab pos="844723" algn="l"/>
                  <a:tab pos="1267084" algn="l"/>
                  <a:tab pos="1689445" algn="l"/>
                  <a:tab pos="2111807" algn="l"/>
                  <a:tab pos="2534168" algn="l"/>
                  <a:tab pos="2956530" algn="l"/>
                  <a:tab pos="3378891" algn="l"/>
                  <a:tab pos="3801252" algn="l"/>
                  <a:tab pos="4223614" algn="l"/>
                  <a:tab pos="4645975" algn="l"/>
                  <a:tab pos="5068336" algn="l"/>
                  <a:tab pos="5490698" algn="l"/>
                  <a:tab pos="5913059" algn="l"/>
                  <a:tab pos="6335420" algn="l"/>
                  <a:tab pos="6757782" algn="l"/>
                  <a:tab pos="7180143" algn="l"/>
                  <a:tab pos="7602504" algn="l"/>
                  <a:tab pos="8024866" algn="l"/>
                  <a:tab pos="8447227" algn="l"/>
                </a:tabLst>
              </a:pPr>
              <a:t>4</a:t>
            </a:fld>
            <a:endParaRPr lang="en-US" altLang="es-ES" sz="1300" dirty="0">
              <a:solidFill>
                <a:srgbClr val="000000"/>
              </a:solidFill>
              <a:latin typeface="Times New Roman" pitchFamily="16" charset="0"/>
              <a:cs typeface="Arial Unicode MS" charset="0"/>
            </a:endParaRPr>
          </a:p>
        </p:txBody>
      </p:sp>
      <p:sp>
        <p:nvSpPr>
          <p:cNvPr id="50180" name="Text Box 2"/>
          <p:cNvSpPr txBox="1">
            <a:spLocks noChangeArrowheads="1"/>
          </p:cNvSpPr>
          <p:nvPr/>
        </p:nvSpPr>
        <p:spPr bwMode="auto">
          <a:xfrm>
            <a:off x="3886599" y="9493300"/>
            <a:ext cx="2967948" cy="48676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 anchor="b"/>
          <a:lstStyle/>
          <a:p>
            <a:pPr algn="r">
              <a:buClrTx/>
              <a:tabLst>
                <a:tab pos="0" algn="l"/>
                <a:tab pos="422361" algn="l"/>
                <a:tab pos="844723" algn="l"/>
                <a:tab pos="1267084" algn="l"/>
                <a:tab pos="1689445" algn="l"/>
                <a:tab pos="2111807" algn="l"/>
                <a:tab pos="2534168" algn="l"/>
                <a:tab pos="2956530" algn="l"/>
                <a:tab pos="3378891" algn="l"/>
                <a:tab pos="3801252" algn="l"/>
                <a:tab pos="4223614" algn="l"/>
                <a:tab pos="4645975" algn="l"/>
                <a:tab pos="5068336" algn="l"/>
                <a:tab pos="5490698" algn="l"/>
                <a:tab pos="5913059" algn="l"/>
                <a:tab pos="6335420" algn="l"/>
                <a:tab pos="6757782" algn="l"/>
                <a:tab pos="7180143" algn="l"/>
                <a:tab pos="7602504" algn="l"/>
                <a:tab pos="8024866" algn="l"/>
                <a:tab pos="8447227" algn="l"/>
              </a:tabLst>
            </a:pPr>
            <a:fld id="{9A58E163-4FAC-461C-B42B-D4FD1124405B}" type="slidenum">
              <a:rPr lang="en-US" altLang="es-ES" sz="1300">
                <a:solidFill>
                  <a:srgbClr val="000000"/>
                </a:solidFill>
                <a:latin typeface="Times New Roman" pitchFamily="16" charset="0"/>
                <a:cs typeface="Arial Unicode MS" charset="0"/>
              </a:rPr>
              <a:pPr algn="r">
                <a:buClrTx/>
                <a:tabLst>
                  <a:tab pos="0" algn="l"/>
                  <a:tab pos="422361" algn="l"/>
                  <a:tab pos="844723" algn="l"/>
                  <a:tab pos="1267084" algn="l"/>
                  <a:tab pos="1689445" algn="l"/>
                  <a:tab pos="2111807" algn="l"/>
                  <a:tab pos="2534168" algn="l"/>
                  <a:tab pos="2956530" algn="l"/>
                  <a:tab pos="3378891" algn="l"/>
                  <a:tab pos="3801252" algn="l"/>
                  <a:tab pos="4223614" algn="l"/>
                  <a:tab pos="4645975" algn="l"/>
                  <a:tab pos="5068336" algn="l"/>
                  <a:tab pos="5490698" algn="l"/>
                  <a:tab pos="5913059" algn="l"/>
                  <a:tab pos="6335420" algn="l"/>
                  <a:tab pos="6757782" algn="l"/>
                  <a:tab pos="7180143" algn="l"/>
                  <a:tab pos="7602504" algn="l"/>
                  <a:tab pos="8024866" algn="l"/>
                  <a:tab pos="8447227" algn="l"/>
                </a:tabLst>
              </a:pPr>
              <a:t>4</a:t>
            </a:fld>
            <a:endParaRPr lang="en-US" altLang="es-ES" sz="1300" dirty="0">
              <a:solidFill>
                <a:srgbClr val="000000"/>
              </a:solidFill>
              <a:latin typeface="Times New Roman" pitchFamily="16" charset="0"/>
              <a:cs typeface="Arial Unicode MS" charset="0"/>
            </a:endParaRPr>
          </a:p>
        </p:txBody>
      </p:sp>
      <p:sp>
        <p:nvSpPr>
          <p:cNvPr id="50181" name="Rectangle 3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4775" y="760413"/>
            <a:ext cx="6657975" cy="3746500"/>
          </a:xfrm>
          <a:solidFill>
            <a:srgbClr val="FFFFFF"/>
          </a:solidFill>
          <a:ln>
            <a:solidFill>
              <a:srgbClr val="000000"/>
            </a:solidFill>
            <a:miter lim="800000"/>
          </a:ln>
        </p:spPr>
      </p:sp>
      <p:sp>
        <p:nvSpPr>
          <p:cNvPr id="50182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686464" y="4747392"/>
            <a:ext cx="5494597" cy="4498075"/>
          </a:xfrm>
          <a:noFill/>
        </p:spPr>
        <p:txBody>
          <a:bodyPr wrap="none" anchor="ctr"/>
          <a:lstStyle/>
          <a:p>
            <a:endParaRPr lang="es-ES" altLang="es-ES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1"/>
          <p:cNvSpPr>
            <a:spLocks noGrp="1" noChangeArrowheads="1"/>
          </p:cNvSpPr>
          <p:nvPr>
            <p:ph type="sldNum" sz="quarter"/>
          </p:nvPr>
        </p:nvSpPr>
        <p:spPr>
          <a:noFill/>
          <a:ln>
            <a:round/>
            <a:headEnd/>
            <a:tailEnd/>
          </a:ln>
        </p:spPr>
        <p:txBody>
          <a:bodyPr/>
          <a:lstStyle/>
          <a:p>
            <a:fld id="{B22EACD9-E21E-47E0-8A4F-D62CC9D822AC}" type="slidenum">
              <a:rPr lang="en-US" altLang="es-ES" smtClean="0"/>
              <a:pPr/>
              <a:t>5</a:t>
            </a:fld>
            <a:endParaRPr lang="en-US" altLang="es-ES" smtClean="0"/>
          </a:p>
        </p:txBody>
      </p:sp>
      <p:sp>
        <p:nvSpPr>
          <p:cNvPr id="50179" name="Text Box 1"/>
          <p:cNvSpPr txBox="1">
            <a:spLocks noChangeArrowheads="1"/>
          </p:cNvSpPr>
          <p:nvPr/>
        </p:nvSpPr>
        <p:spPr bwMode="auto">
          <a:xfrm>
            <a:off x="3886598" y="9493300"/>
            <a:ext cx="2959295" cy="477856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 anchor="b"/>
          <a:lstStyle/>
          <a:p>
            <a:pPr algn="r">
              <a:buClrTx/>
              <a:tabLst>
                <a:tab pos="0" algn="l"/>
                <a:tab pos="422361" algn="l"/>
                <a:tab pos="844723" algn="l"/>
                <a:tab pos="1267084" algn="l"/>
                <a:tab pos="1689445" algn="l"/>
                <a:tab pos="2111807" algn="l"/>
                <a:tab pos="2534168" algn="l"/>
                <a:tab pos="2956530" algn="l"/>
                <a:tab pos="3378891" algn="l"/>
                <a:tab pos="3801252" algn="l"/>
                <a:tab pos="4223614" algn="l"/>
                <a:tab pos="4645975" algn="l"/>
                <a:tab pos="5068336" algn="l"/>
                <a:tab pos="5490698" algn="l"/>
                <a:tab pos="5913059" algn="l"/>
                <a:tab pos="6335420" algn="l"/>
                <a:tab pos="6757782" algn="l"/>
                <a:tab pos="7180143" algn="l"/>
                <a:tab pos="7602504" algn="l"/>
                <a:tab pos="8024866" algn="l"/>
                <a:tab pos="8447227" algn="l"/>
              </a:tabLst>
            </a:pPr>
            <a:fld id="{68E433CD-DAEA-4423-9CAF-178E9EB2889B}" type="slidenum">
              <a:rPr lang="en-US" altLang="es-ES" sz="1300">
                <a:solidFill>
                  <a:srgbClr val="000000"/>
                </a:solidFill>
                <a:latin typeface="Times New Roman" pitchFamily="16" charset="0"/>
                <a:cs typeface="Arial Unicode MS" charset="0"/>
              </a:rPr>
              <a:pPr algn="r">
                <a:buClrTx/>
                <a:tabLst>
                  <a:tab pos="0" algn="l"/>
                  <a:tab pos="422361" algn="l"/>
                  <a:tab pos="844723" algn="l"/>
                  <a:tab pos="1267084" algn="l"/>
                  <a:tab pos="1689445" algn="l"/>
                  <a:tab pos="2111807" algn="l"/>
                  <a:tab pos="2534168" algn="l"/>
                  <a:tab pos="2956530" algn="l"/>
                  <a:tab pos="3378891" algn="l"/>
                  <a:tab pos="3801252" algn="l"/>
                  <a:tab pos="4223614" algn="l"/>
                  <a:tab pos="4645975" algn="l"/>
                  <a:tab pos="5068336" algn="l"/>
                  <a:tab pos="5490698" algn="l"/>
                  <a:tab pos="5913059" algn="l"/>
                  <a:tab pos="6335420" algn="l"/>
                  <a:tab pos="6757782" algn="l"/>
                  <a:tab pos="7180143" algn="l"/>
                  <a:tab pos="7602504" algn="l"/>
                  <a:tab pos="8024866" algn="l"/>
                  <a:tab pos="8447227" algn="l"/>
                </a:tabLst>
              </a:pPr>
              <a:t>5</a:t>
            </a:fld>
            <a:endParaRPr lang="en-US" altLang="es-ES" sz="1300" dirty="0">
              <a:solidFill>
                <a:srgbClr val="000000"/>
              </a:solidFill>
              <a:latin typeface="Times New Roman" pitchFamily="16" charset="0"/>
              <a:cs typeface="Arial Unicode MS" charset="0"/>
            </a:endParaRPr>
          </a:p>
        </p:txBody>
      </p:sp>
      <p:sp>
        <p:nvSpPr>
          <p:cNvPr id="50180" name="Text Box 2"/>
          <p:cNvSpPr txBox="1">
            <a:spLocks noChangeArrowheads="1"/>
          </p:cNvSpPr>
          <p:nvPr/>
        </p:nvSpPr>
        <p:spPr bwMode="auto">
          <a:xfrm>
            <a:off x="3886599" y="9493300"/>
            <a:ext cx="2967948" cy="48676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 anchor="b"/>
          <a:lstStyle/>
          <a:p>
            <a:pPr algn="r">
              <a:buClrTx/>
              <a:tabLst>
                <a:tab pos="0" algn="l"/>
                <a:tab pos="422361" algn="l"/>
                <a:tab pos="844723" algn="l"/>
                <a:tab pos="1267084" algn="l"/>
                <a:tab pos="1689445" algn="l"/>
                <a:tab pos="2111807" algn="l"/>
                <a:tab pos="2534168" algn="l"/>
                <a:tab pos="2956530" algn="l"/>
                <a:tab pos="3378891" algn="l"/>
                <a:tab pos="3801252" algn="l"/>
                <a:tab pos="4223614" algn="l"/>
                <a:tab pos="4645975" algn="l"/>
                <a:tab pos="5068336" algn="l"/>
                <a:tab pos="5490698" algn="l"/>
                <a:tab pos="5913059" algn="l"/>
                <a:tab pos="6335420" algn="l"/>
                <a:tab pos="6757782" algn="l"/>
                <a:tab pos="7180143" algn="l"/>
                <a:tab pos="7602504" algn="l"/>
                <a:tab pos="8024866" algn="l"/>
                <a:tab pos="8447227" algn="l"/>
              </a:tabLst>
            </a:pPr>
            <a:fld id="{9A58E163-4FAC-461C-B42B-D4FD1124405B}" type="slidenum">
              <a:rPr lang="en-US" altLang="es-ES" sz="1300">
                <a:solidFill>
                  <a:srgbClr val="000000"/>
                </a:solidFill>
                <a:latin typeface="Times New Roman" pitchFamily="16" charset="0"/>
                <a:cs typeface="Arial Unicode MS" charset="0"/>
              </a:rPr>
              <a:pPr algn="r">
                <a:buClrTx/>
                <a:tabLst>
                  <a:tab pos="0" algn="l"/>
                  <a:tab pos="422361" algn="l"/>
                  <a:tab pos="844723" algn="l"/>
                  <a:tab pos="1267084" algn="l"/>
                  <a:tab pos="1689445" algn="l"/>
                  <a:tab pos="2111807" algn="l"/>
                  <a:tab pos="2534168" algn="l"/>
                  <a:tab pos="2956530" algn="l"/>
                  <a:tab pos="3378891" algn="l"/>
                  <a:tab pos="3801252" algn="l"/>
                  <a:tab pos="4223614" algn="l"/>
                  <a:tab pos="4645975" algn="l"/>
                  <a:tab pos="5068336" algn="l"/>
                  <a:tab pos="5490698" algn="l"/>
                  <a:tab pos="5913059" algn="l"/>
                  <a:tab pos="6335420" algn="l"/>
                  <a:tab pos="6757782" algn="l"/>
                  <a:tab pos="7180143" algn="l"/>
                  <a:tab pos="7602504" algn="l"/>
                  <a:tab pos="8024866" algn="l"/>
                  <a:tab pos="8447227" algn="l"/>
                </a:tabLst>
              </a:pPr>
              <a:t>5</a:t>
            </a:fld>
            <a:endParaRPr lang="en-US" altLang="es-ES" sz="1300" dirty="0">
              <a:solidFill>
                <a:srgbClr val="000000"/>
              </a:solidFill>
              <a:latin typeface="Times New Roman" pitchFamily="16" charset="0"/>
              <a:cs typeface="Arial Unicode MS" charset="0"/>
            </a:endParaRPr>
          </a:p>
        </p:txBody>
      </p:sp>
      <p:sp>
        <p:nvSpPr>
          <p:cNvPr id="50181" name="Rectangle 3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4775" y="760413"/>
            <a:ext cx="6657975" cy="3746500"/>
          </a:xfrm>
          <a:solidFill>
            <a:srgbClr val="FFFFFF"/>
          </a:solidFill>
          <a:ln>
            <a:solidFill>
              <a:srgbClr val="000000"/>
            </a:solidFill>
            <a:miter lim="800000"/>
          </a:ln>
        </p:spPr>
      </p:sp>
      <p:sp>
        <p:nvSpPr>
          <p:cNvPr id="50182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686464" y="4747392"/>
            <a:ext cx="5494597" cy="4498075"/>
          </a:xfrm>
          <a:noFill/>
        </p:spPr>
        <p:txBody>
          <a:bodyPr wrap="none" anchor="ctr"/>
          <a:lstStyle/>
          <a:p>
            <a:endParaRPr lang="es-ES" altLang="es-ES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21"/>
          <p:cNvSpPr>
            <a:spLocks noGrp="1" noChangeArrowheads="1"/>
          </p:cNvSpPr>
          <p:nvPr>
            <p:ph type="sldNum" sz="quarter"/>
          </p:nvPr>
        </p:nvSpPr>
        <p:spPr>
          <a:noFill/>
          <a:ln>
            <a:round/>
            <a:headEnd/>
            <a:tailEnd/>
          </a:ln>
        </p:spPr>
        <p:txBody>
          <a:bodyPr/>
          <a:lstStyle/>
          <a:p>
            <a:fld id="{E0A35AEF-D010-40A9-88B5-71259526502E}" type="slidenum">
              <a:rPr lang="en-US" altLang="es-ES" smtClean="0"/>
              <a:pPr/>
              <a:t>8</a:t>
            </a:fld>
            <a:endParaRPr lang="en-US" altLang="es-ES" smtClean="0"/>
          </a:p>
        </p:txBody>
      </p:sp>
      <p:sp>
        <p:nvSpPr>
          <p:cNvPr id="65539" name="Text Box 1"/>
          <p:cNvSpPr txBox="1">
            <a:spLocks noChangeArrowheads="1"/>
          </p:cNvSpPr>
          <p:nvPr/>
        </p:nvSpPr>
        <p:spPr bwMode="auto">
          <a:xfrm>
            <a:off x="3886598" y="9493300"/>
            <a:ext cx="2959295" cy="477856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 anchor="b"/>
          <a:lstStyle/>
          <a:p>
            <a:pPr algn="r">
              <a:buClrTx/>
              <a:tabLst>
                <a:tab pos="0" algn="l"/>
                <a:tab pos="422361" algn="l"/>
                <a:tab pos="844723" algn="l"/>
                <a:tab pos="1267084" algn="l"/>
                <a:tab pos="1689445" algn="l"/>
                <a:tab pos="2111807" algn="l"/>
                <a:tab pos="2534168" algn="l"/>
                <a:tab pos="2956530" algn="l"/>
                <a:tab pos="3378891" algn="l"/>
                <a:tab pos="3801252" algn="l"/>
                <a:tab pos="4223614" algn="l"/>
                <a:tab pos="4645975" algn="l"/>
                <a:tab pos="5068336" algn="l"/>
                <a:tab pos="5490698" algn="l"/>
                <a:tab pos="5913059" algn="l"/>
                <a:tab pos="6335420" algn="l"/>
                <a:tab pos="6757782" algn="l"/>
                <a:tab pos="7180143" algn="l"/>
                <a:tab pos="7602504" algn="l"/>
                <a:tab pos="8024866" algn="l"/>
                <a:tab pos="8447227" algn="l"/>
              </a:tabLst>
            </a:pPr>
            <a:fld id="{36F6127F-2EB2-40BD-8180-0F9C86663B24}" type="slidenum">
              <a:rPr lang="en-US" altLang="es-ES" sz="1300">
                <a:solidFill>
                  <a:srgbClr val="000000"/>
                </a:solidFill>
                <a:latin typeface="Times New Roman" pitchFamily="16" charset="0"/>
                <a:cs typeface="Arial Unicode MS" charset="0"/>
              </a:rPr>
              <a:pPr algn="r">
                <a:buClrTx/>
                <a:tabLst>
                  <a:tab pos="0" algn="l"/>
                  <a:tab pos="422361" algn="l"/>
                  <a:tab pos="844723" algn="l"/>
                  <a:tab pos="1267084" algn="l"/>
                  <a:tab pos="1689445" algn="l"/>
                  <a:tab pos="2111807" algn="l"/>
                  <a:tab pos="2534168" algn="l"/>
                  <a:tab pos="2956530" algn="l"/>
                  <a:tab pos="3378891" algn="l"/>
                  <a:tab pos="3801252" algn="l"/>
                  <a:tab pos="4223614" algn="l"/>
                  <a:tab pos="4645975" algn="l"/>
                  <a:tab pos="5068336" algn="l"/>
                  <a:tab pos="5490698" algn="l"/>
                  <a:tab pos="5913059" algn="l"/>
                  <a:tab pos="6335420" algn="l"/>
                  <a:tab pos="6757782" algn="l"/>
                  <a:tab pos="7180143" algn="l"/>
                  <a:tab pos="7602504" algn="l"/>
                  <a:tab pos="8024866" algn="l"/>
                  <a:tab pos="8447227" algn="l"/>
                </a:tabLst>
              </a:pPr>
              <a:t>8</a:t>
            </a:fld>
            <a:endParaRPr lang="en-US" altLang="es-ES" sz="1300" dirty="0">
              <a:solidFill>
                <a:srgbClr val="000000"/>
              </a:solidFill>
              <a:latin typeface="Times New Roman" pitchFamily="16" charset="0"/>
              <a:cs typeface="Arial Unicode MS" charset="0"/>
            </a:endParaRPr>
          </a:p>
        </p:txBody>
      </p:sp>
      <p:sp>
        <p:nvSpPr>
          <p:cNvPr id="65540" name="Text Box 2"/>
          <p:cNvSpPr txBox="1">
            <a:spLocks noChangeArrowheads="1"/>
          </p:cNvSpPr>
          <p:nvPr/>
        </p:nvSpPr>
        <p:spPr bwMode="auto">
          <a:xfrm>
            <a:off x="3886599" y="9493300"/>
            <a:ext cx="2967948" cy="48676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 anchor="b"/>
          <a:lstStyle/>
          <a:p>
            <a:pPr algn="r">
              <a:buClrTx/>
              <a:tabLst>
                <a:tab pos="0" algn="l"/>
                <a:tab pos="422361" algn="l"/>
                <a:tab pos="844723" algn="l"/>
                <a:tab pos="1267084" algn="l"/>
                <a:tab pos="1689445" algn="l"/>
                <a:tab pos="2111807" algn="l"/>
                <a:tab pos="2534168" algn="l"/>
                <a:tab pos="2956530" algn="l"/>
                <a:tab pos="3378891" algn="l"/>
                <a:tab pos="3801252" algn="l"/>
                <a:tab pos="4223614" algn="l"/>
                <a:tab pos="4645975" algn="l"/>
                <a:tab pos="5068336" algn="l"/>
                <a:tab pos="5490698" algn="l"/>
                <a:tab pos="5913059" algn="l"/>
                <a:tab pos="6335420" algn="l"/>
                <a:tab pos="6757782" algn="l"/>
                <a:tab pos="7180143" algn="l"/>
                <a:tab pos="7602504" algn="l"/>
                <a:tab pos="8024866" algn="l"/>
                <a:tab pos="8447227" algn="l"/>
              </a:tabLst>
            </a:pPr>
            <a:fld id="{0182AF92-A440-475E-A6D7-4D1E33BC3371}" type="slidenum">
              <a:rPr lang="en-US" altLang="es-ES" sz="1300">
                <a:solidFill>
                  <a:srgbClr val="000000"/>
                </a:solidFill>
                <a:latin typeface="Times New Roman" pitchFamily="16" charset="0"/>
                <a:cs typeface="Arial Unicode MS" charset="0"/>
              </a:rPr>
              <a:pPr algn="r">
                <a:buClrTx/>
                <a:tabLst>
                  <a:tab pos="0" algn="l"/>
                  <a:tab pos="422361" algn="l"/>
                  <a:tab pos="844723" algn="l"/>
                  <a:tab pos="1267084" algn="l"/>
                  <a:tab pos="1689445" algn="l"/>
                  <a:tab pos="2111807" algn="l"/>
                  <a:tab pos="2534168" algn="l"/>
                  <a:tab pos="2956530" algn="l"/>
                  <a:tab pos="3378891" algn="l"/>
                  <a:tab pos="3801252" algn="l"/>
                  <a:tab pos="4223614" algn="l"/>
                  <a:tab pos="4645975" algn="l"/>
                  <a:tab pos="5068336" algn="l"/>
                  <a:tab pos="5490698" algn="l"/>
                  <a:tab pos="5913059" algn="l"/>
                  <a:tab pos="6335420" algn="l"/>
                  <a:tab pos="6757782" algn="l"/>
                  <a:tab pos="7180143" algn="l"/>
                  <a:tab pos="7602504" algn="l"/>
                  <a:tab pos="8024866" algn="l"/>
                  <a:tab pos="8447227" algn="l"/>
                </a:tabLst>
              </a:pPr>
              <a:t>8</a:t>
            </a:fld>
            <a:endParaRPr lang="en-US" altLang="es-ES" sz="1300" dirty="0">
              <a:solidFill>
                <a:srgbClr val="000000"/>
              </a:solidFill>
              <a:latin typeface="Times New Roman" pitchFamily="16" charset="0"/>
              <a:cs typeface="Arial Unicode MS" charset="0"/>
            </a:endParaRPr>
          </a:p>
        </p:txBody>
      </p:sp>
      <p:sp>
        <p:nvSpPr>
          <p:cNvPr id="65541" name="Rectangle 3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4775" y="760413"/>
            <a:ext cx="6657975" cy="3746500"/>
          </a:xfrm>
          <a:solidFill>
            <a:srgbClr val="FFFFFF"/>
          </a:solidFill>
          <a:ln>
            <a:solidFill>
              <a:srgbClr val="000000"/>
            </a:solidFill>
            <a:miter lim="800000"/>
          </a:ln>
        </p:spPr>
      </p:sp>
      <p:sp>
        <p:nvSpPr>
          <p:cNvPr id="65542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686464" y="4747392"/>
            <a:ext cx="5494597" cy="4498075"/>
          </a:xfrm>
          <a:noFill/>
        </p:spPr>
        <p:txBody>
          <a:bodyPr wrap="none" anchor="ctr"/>
          <a:lstStyle/>
          <a:p>
            <a:endParaRPr lang="es-ES" altLang="es-E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1219200" y="2840038"/>
            <a:ext cx="13819188" cy="1960562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2438400" y="5181600"/>
            <a:ext cx="11380788" cy="23368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2FF72F-4E65-49DC-A6DD-A3A0897C04A9}" type="slidenum">
              <a:rPr lang="en-US" altLang="es-ES"/>
              <a:pPr>
                <a:defRPr/>
              </a:pPr>
              <a:t>‹Nº›</a:t>
            </a:fld>
            <a:endParaRPr lang="en-US" altLang="es-E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1607EA-FA12-4EB7-8BE8-F201E07CA076}" type="slidenum">
              <a:rPr lang="en-US" altLang="es-ES"/>
              <a:pPr>
                <a:defRPr/>
              </a:pPr>
              <a:t>‹Nº›</a:t>
            </a:fld>
            <a:endParaRPr lang="en-US" altLang="es-E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11768138" y="363538"/>
            <a:ext cx="3651250" cy="7785100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812800" y="363538"/>
            <a:ext cx="10802938" cy="7785100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E19239-EC03-48E1-9936-0EA74093C429}" type="slidenum">
              <a:rPr lang="en-US" altLang="es-ES"/>
              <a:pPr>
                <a:defRPr/>
              </a:pPr>
              <a:t>‹Nº›</a:t>
            </a:fld>
            <a:endParaRPr lang="en-US" altLang="es-E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6277" y="1320000"/>
            <a:ext cx="15007004" cy="3264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22360" y="8376092"/>
            <a:ext cx="15049513" cy="189173"/>
          </a:xfrm>
        </p:spPr>
        <p:txBody>
          <a:bodyPr lIns="0" tIns="0" rIns="0" anchor="b" anchorCtr="0"/>
          <a:lstStyle>
            <a:lvl1pPr>
              <a:spcBef>
                <a:spcPts val="0"/>
              </a:spcBef>
              <a:defRPr sz="1500"/>
            </a:lvl1pPr>
          </a:lstStyle>
          <a:p>
            <a:pPr lvl="0"/>
            <a:r>
              <a:rPr lang="en-US" noProof="0" dirty="0" err="1" smtClean="0"/>
              <a:t>Notas</a:t>
            </a:r>
            <a:r>
              <a:rPr lang="en-US" noProof="0" dirty="0" smtClean="0"/>
              <a:t>: Complete if require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2456225" y="8650747"/>
            <a:ext cx="12591636" cy="241732"/>
          </a:xfrm>
        </p:spPr>
        <p:txBody>
          <a:bodyPr lIns="0" tIns="0" rIns="0" anchor="t" anchorCtr="0"/>
          <a:lstStyle>
            <a:lvl1pPr marL="0" marR="0" indent="0" algn="l" defTabSz="13854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/>
            </a:lvl1pPr>
          </a:lstStyle>
          <a:p>
            <a:pPr marL="0" marR="0" lvl="0" indent="0" algn="l" defTabSz="13854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 smtClean="0"/>
              <a:t>Fuente: Complete if required</a:t>
            </a:r>
          </a:p>
        </p:txBody>
      </p:sp>
    </p:spTree>
    <p:extLst>
      <p:ext uri="{BB962C8B-B14F-4D97-AF65-F5344CB8AC3E}">
        <p14:creationId xmlns="" xmlns:p14="http://schemas.microsoft.com/office/powerpoint/2010/main" val="12865710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87FB1C-258C-4E65-AB86-AB8A0DFA7930}" type="slidenum">
              <a:rPr lang="en-US" altLang="es-ES"/>
              <a:pPr>
                <a:defRPr/>
              </a:pPr>
              <a:t>‹Nº›</a:t>
            </a:fld>
            <a:endParaRPr lang="en-US" altLang="es-E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284288" y="5875338"/>
            <a:ext cx="13819187" cy="181610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1284288" y="3875088"/>
            <a:ext cx="13819187" cy="200025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1A61A4-F7C6-471D-8FEF-CAA0B76DAE91}" type="slidenum">
              <a:rPr lang="en-US" altLang="es-ES"/>
              <a:pPr>
                <a:defRPr/>
              </a:pPr>
              <a:t>‹Nº›</a:t>
            </a:fld>
            <a:endParaRPr lang="en-US" altLang="es-E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812800" y="2139950"/>
            <a:ext cx="7226300" cy="60086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8191500" y="2139950"/>
            <a:ext cx="7227888" cy="60086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2A529C-0C9B-4565-8C37-A6BBD718E3F8}" type="slidenum">
              <a:rPr lang="en-US" altLang="es-ES"/>
              <a:pPr>
                <a:defRPr/>
              </a:pPr>
              <a:t>‹Nº›</a:t>
            </a:fld>
            <a:endParaRPr lang="en-US" altLang="es-E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812800" y="366713"/>
            <a:ext cx="14631988" cy="1524000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812800" y="2046288"/>
            <a:ext cx="7183438" cy="854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812800" y="2900363"/>
            <a:ext cx="7183438" cy="52673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8258175" y="2046288"/>
            <a:ext cx="7186613" cy="854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8258175" y="2900363"/>
            <a:ext cx="7186613" cy="52673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963538-A0E7-4131-B616-696E4395C0FD}" type="slidenum">
              <a:rPr lang="en-US" altLang="es-ES"/>
              <a:pPr>
                <a:defRPr/>
              </a:pPr>
              <a:t>‹Nº›</a:t>
            </a:fld>
            <a:endParaRPr lang="en-US" altLang="es-E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6348E8-B06C-488E-8211-533B303DB891}" type="slidenum">
              <a:rPr lang="en-US" altLang="es-ES"/>
              <a:pPr>
                <a:defRPr/>
              </a:pPr>
              <a:t>‹Nº›</a:t>
            </a:fld>
            <a:endParaRPr lang="en-US" altLang="es-E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A6223C-15CA-4772-BC63-AFAEFBFD33A0}" type="slidenum">
              <a:rPr lang="en-US" altLang="es-ES"/>
              <a:pPr>
                <a:defRPr/>
              </a:pPr>
              <a:t>‹Nº›</a:t>
            </a:fld>
            <a:endParaRPr lang="en-US" altLang="es-E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812800" y="363538"/>
            <a:ext cx="5348288" cy="154940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356350" y="363538"/>
            <a:ext cx="9088438" cy="78041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812800" y="1912938"/>
            <a:ext cx="5348288" cy="62547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5C3BE5-5C74-4DDE-9DBB-7D7DAB3CC66B}" type="slidenum">
              <a:rPr lang="en-US" altLang="es-ES"/>
              <a:pPr>
                <a:defRPr/>
              </a:pPr>
              <a:t>‹Nº›</a:t>
            </a:fld>
            <a:endParaRPr lang="en-US" altLang="es-E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186113" y="6400800"/>
            <a:ext cx="9755187" cy="7556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3186113" y="817563"/>
            <a:ext cx="9755187" cy="5486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ES" noProof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3186113" y="7156450"/>
            <a:ext cx="9755187" cy="10731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4BBE16-57C2-4F72-9CD0-395E4A5CDDC8}" type="slidenum">
              <a:rPr lang="en-US" altLang="es-ES"/>
              <a:pPr>
                <a:defRPr/>
              </a:pPr>
              <a:t>‹Nº›</a:t>
            </a:fld>
            <a:endParaRPr lang="en-US" altLang="es-E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812800" y="363538"/>
            <a:ext cx="14606588" cy="150177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s-ES" smtClean="0"/>
              <a:t>Pulse para editar el formato del texto de título</a:t>
            </a:r>
          </a:p>
        </p:txBody>
      </p:sp>
      <p:sp>
        <p:nvSpPr>
          <p:cNvPr id="2051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812800" y="2139950"/>
            <a:ext cx="14606588" cy="600868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0" tIns="3456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s-ES" smtClean="0"/>
              <a:t>Pulse para editar los formatos del texto del esquema</a:t>
            </a:r>
          </a:p>
          <a:p>
            <a:pPr lvl="1"/>
            <a:r>
              <a:rPr lang="en-GB" altLang="es-ES" smtClean="0"/>
              <a:t>Segundo nivel del esquema</a:t>
            </a:r>
          </a:p>
          <a:p>
            <a:pPr lvl="2"/>
            <a:r>
              <a:rPr lang="en-GB" altLang="es-ES" smtClean="0"/>
              <a:t>Tercer nivel del esquema</a:t>
            </a:r>
          </a:p>
          <a:p>
            <a:pPr lvl="3"/>
            <a:r>
              <a:rPr lang="en-GB" altLang="es-ES" smtClean="0"/>
              <a:t>Cuarto nivel del esquema</a:t>
            </a:r>
          </a:p>
          <a:p>
            <a:pPr lvl="4"/>
            <a:r>
              <a:rPr lang="en-GB" altLang="es-ES" smtClean="0"/>
              <a:t>Quinto nivel del esquema</a:t>
            </a:r>
          </a:p>
          <a:p>
            <a:pPr lvl="4"/>
            <a:r>
              <a:rPr lang="en-GB" altLang="es-ES" smtClean="0"/>
              <a:t>Sexto nivel del esquema</a:t>
            </a:r>
          </a:p>
          <a:p>
            <a:pPr lvl="4"/>
            <a:r>
              <a:rPr lang="en-GB" altLang="es-ES" smtClean="0"/>
              <a:t>Séptimo nivel del esquema</a:t>
            </a:r>
          </a:p>
          <a:p>
            <a:pPr lvl="4"/>
            <a:r>
              <a:rPr lang="en-GB" altLang="es-ES" smtClean="0"/>
              <a:t>Octavo nivel del esquema</a:t>
            </a:r>
          </a:p>
          <a:p>
            <a:pPr lvl="4"/>
            <a:r>
              <a:rPr lang="en-GB" altLang="es-ES" smtClean="0"/>
              <a:t>Noveno nivel del esquema</a:t>
            </a:r>
          </a:p>
        </p:txBody>
      </p:sp>
      <p:sp>
        <p:nvSpPr>
          <p:cNvPr id="1028" name="Text Box 3"/>
          <p:cNvSpPr txBox="1">
            <a:spLocks noChangeArrowheads="1"/>
          </p:cNvSpPr>
          <p:nvPr/>
        </p:nvSpPr>
        <p:spPr bwMode="auto">
          <a:xfrm>
            <a:off x="812800" y="8329613"/>
            <a:ext cx="3773488" cy="6159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ES"/>
          </a:p>
        </p:txBody>
      </p:sp>
      <p:sp>
        <p:nvSpPr>
          <p:cNvPr id="1029" name="Text Box 4"/>
          <p:cNvSpPr txBox="1">
            <a:spLocks noChangeArrowheads="1"/>
          </p:cNvSpPr>
          <p:nvPr/>
        </p:nvSpPr>
        <p:spPr bwMode="auto">
          <a:xfrm>
            <a:off x="5559425" y="8329613"/>
            <a:ext cx="5138738" cy="6159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ES"/>
          </a:p>
        </p:txBody>
      </p:sp>
      <p:sp>
        <p:nvSpPr>
          <p:cNvPr id="2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11657013" y="8329613"/>
            <a:ext cx="3762375" cy="604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Tx/>
              <a:buFontTx/>
              <a:buNone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B0A7574B-4142-44B4-BB08-64D8B08BCB6E}" type="slidenum">
              <a:rPr lang="en-US" altLang="es-ES"/>
              <a:pPr>
                <a:defRPr/>
              </a:pPr>
              <a:t>‹Nº›</a:t>
            </a:fld>
            <a:endParaRPr lang="en-US" altLang="es-E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5300">
          <a:solidFill>
            <a:srgbClr val="FFFFFF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5300">
          <a:solidFill>
            <a:srgbClr val="FFFFFF"/>
          </a:solidFill>
          <a:latin typeface="Arial" charset="0"/>
          <a:ea typeface="Microsoft YaHei" charset="-122"/>
        </a:defRPr>
      </a:lvl2pPr>
      <a:lvl3pPr algn="ctr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5300">
          <a:solidFill>
            <a:srgbClr val="FFFFFF"/>
          </a:solidFill>
          <a:latin typeface="Arial" charset="0"/>
          <a:ea typeface="Microsoft YaHei" charset="-122"/>
        </a:defRPr>
      </a:lvl3pPr>
      <a:lvl4pPr algn="ctr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5300">
          <a:solidFill>
            <a:srgbClr val="FFFFFF"/>
          </a:solidFill>
          <a:latin typeface="Arial" charset="0"/>
          <a:ea typeface="Microsoft YaHei" charset="-122"/>
        </a:defRPr>
      </a:lvl4pPr>
      <a:lvl5pPr algn="ctr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5300">
          <a:solidFill>
            <a:srgbClr val="FFFFFF"/>
          </a:solidFill>
          <a:latin typeface="Arial" charset="0"/>
          <a:ea typeface="Microsoft YaHei" charset="-122"/>
        </a:defRPr>
      </a:lvl5pPr>
      <a:lvl6pPr marL="2514600" indent="-228600" algn="ctr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5300">
          <a:solidFill>
            <a:srgbClr val="FFFFFF"/>
          </a:solidFill>
          <a:latin typeface="Arial" charset="0"/>
          <a:ea typeface="Microsoft YaHei" charset="-122"/>
        </a:defRPr>
      </a:lvl6pPr>
      <a:lvl7pPr marL="2971800" indent="-228600" algn="ctr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5300">
          <a:solidFill>
            <a:srgbClr val="FFFFFF"/>
          </a:solidFill>
          <a:latin typeface="Arial" charset="0"/>
          <a:ea typeface="Microsoft YaHei" charset="-122"/>
        </a:defRPr>
      </a:lvl7pPr>
      <a:lvl8pPr marL="3429000" indent="-228600" algn="ctr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5300">
          <a:solidFill>
            <a:srgbClr val="FFFFFF"/>
          </a:solidFill>
          <a:latin typeface="Arial" charset="0"/>
          <a:ea typeface="Microsoft YaHei" charset="-122"/>
        </a:defRPr>
      </a:lvl8pPr>
      <a:lvl9pPr marL="3886200" indent="-228600" algn="ctr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5300">
          <a:solidFill>
            <a:srgbClr val="FFFFFF"/>
          </a:solidFill>
          <a:latin typeface="Arial" charset="0"/>
          <a:ea typeface="Microsoft YaHei" charset="-122"/>
        </a:defRPr>
      </a:lvl9pPr>
    </p:titleStyle>
    <p:bodyStyle>
      <a:lvl1pPr marL="342900" indent="-342900" algn="l" defTabSz="457200" rtl="0" eaLnBrk="0" fontAlgn="base" hangingPunct="0">
        <a:lnSpc>
          <a:spcPct val="93000"/>
        </a:lnSpc>
        <a:spcBef>
          <a:spcPct val="0"/>
        </a:spcBef>
        <a:spcAft>
          <a:spcPts val="1713"/>
        </a:spcAft>
        <a:buClr>
          <a:srgbClr val="000000"/>
        </a:buClr>
        <a:buSzPct val="100000"/>
        <a:buFont typeface="Times New Roman" pitchFamily="16" charset="0"/>
        <a:defRPr sz="3900">
          <a:solidFill>
            <a:srgbClr val="FFFFFF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lnSpc>
          <a:spcPct val="93000"/>
        </a:lnSpc>
        <a:spcBef>
          <a:spcPct val="0"/>
        </a:spcBef>
        <a:spcAft>
          <a:spcPts val="1375"/>
        </a:spcAft>
        <a:buClr>
          <a:srgbClr val="000000"/>
        </a:buClr>
        <a:buSzPct val="100000"/>
        <a:buFont typeface="Times New Roman" pitchFamily="16" charset="0"/>
        <a:defRPr sz="3400">
          <a:solidFill>
            <a:srgbClr val="FFFFFF"/>
          </a:solidFill>
          <a:latin typeface="+mn-lt"/>
          <a:ea typeface="+mn-ea"/>
        </a:defRPr>
      </a:lvl2pPr>
      <a:lvl3pPr marL="1143000" indent="-228600" algn="l" defTabSz="457200" rtl="0" eaLnBrk="0" fontAlgn="base" hangingPunct="0">
        <a:lnSpc>
          <a:spcPct val="93000"/>
        </a:lnSpc>
        <a:spcBef>
          <a:spcPct val="0"/>
        </a:spcBef>
        <a:spcAft>
          <a:spcPts val="1025"/>
        </a:spcAft>
        <a:buClr>
          <a:srgbClr val="000000"/>
        </a:buClr>
        <a:buSzPct val="100000"/>
        <a:buFont typeface="Times New Roman" pitchFamily="16" charset="0"/>
        <a:defRPr sz="2900">
          <a:solidFill>
            <a:srgbClr val="FFFFFF"/>
          </a:solidFill>
          <a:latin typeface="+mn-lt"/>
          <a:ea typeface="+mn-ea"/>
        </a:defRPr>
      </a:lvl3pPr>
      <a:lvl4pPr marL="1600200" indent="-228600" algn="l" defTabSz="457200" rtl="0" eaLnBrk="0" fontAlgn="base" hangingPunct="0">
        <a:lnSpc>
          <a:spcPct val="93000"/>
        </a:lnSpc>
        <a:spcBef>
          <a:spcPct val="0"/>
        </a:spcBef>
        <a:spcAft>
          <a:spcPts val="688"/>
        </a:spcAft>
        <a:buClr>
          <a:srgbClr val="000000"/>
        </a:buClr>
        <a:buSzPct val="100000"/>
        <a:buFont typeface="Times New Roman" pitchFamily="16" charset="0"/>
        <a:defRPr sz="2400">
          <a:solidFill>
            <a:srgbClr val="FFFFFF"/>
          </a:solidFill>
          <a:latin typeface="+mn-lt"/>
          <a:ea typeface="+mn-ea"/>
        </a:defRPr>
      </a:lvl4pPr>
      <a:lvl5pPr marL="2057400" indent="-228600" algn="l" defTabSz="457200" rtl="0" eaLnBrk="0" fontAlgn="base" hangingPunct="0">
        <a:lnSpc>
          <a:spcPct val="93000"/>
        </a:lnSpc>
        <a:spcBef>
          <a:spcPct val="0"/>
        </a:spcBef>
        <a:spcAft>
          <a:spcPts val="338"/>
        </a:spcAft>
        <a:buClr>
          <a:srgbClr val="000000"/>
        </a:buClr>
        <a:buSzPct val="100000"/>
        <a:buFont typeface="Times New Roman" pitchFamily="16" charset="0"/>
        <a:defRPr sz="2400">
          <a:solidFill>
            <a:srgbClr val="FFFFFF"/>
          </a:solidFill>
          <a:latin typeface="+mn-lt"/>
          <a:ea typeface="+mn-ea"/>
        </a:defRPr>
      </a:lvl5pPr>
      <a:lvl6pPr marL="2514600" indent="-228600" algn="l" defTabSz="457200" rtl="0" eaLnBrk="0" fontAlgn="base" hangingPunct="0">
        <a:lnSpc>
          <a:spcPct val="93000"/>
        </a:lnSpc>
        <a:spcBef>
          <a:spcPct val="0"/>
        </a:spcBef>
        <a:spcAft>
          <a:spcPts val="338"/>
        </a:spcAft>
        <a:buClr>
          <a:srgbClr val="000000"/>
        </a:buClr>
        <a:buSzPct val="100000"/>
        <a:buFont typeface="Times New Roman" pitchFamily="16" charset="0"/>
        <a:defRPr sz="2400">
          <a:solidFill>
            <a:srgbClr val="FFFFFF"/>
          </a:solidFill>
          <a:latin typeface="+mn-lt"/>
          <a:ea typeface="+mn-ea"/>
        </a:defRPr>
      </a:lvl6pPr>
      <a:lvl7pPr marL="2971800" indent="-228600" algn="l" defTabSz="457200" rtl="0" eaLnBrk="0" fontAlgn="base" hangingPunct="0">
        <a:lnSpc>
          <a:spcPct val="93000"/>
        </a:lnSpc>
        <a:spcBef>
          <a:spcPct val="0"/>
        </a:spcBef>
        <a:spcAft>
          <a:spcPts val="338"/>
        </a:spcAft>
        <a:buClr>
          <a:srgbClr val="000000"/>
        </a:buClr>
        <a:buSzPct val="100000"/>
        <a:buFont typeface="Times New Roman" pitchFamily="16" charset="0"/>
        <a:defRPr sz="2400">
          <a:solidFill>
            <a:srgbClr val="FFFFFF"/>
          </a:solidFill>
          <a:latin typeface="+mn-lt"/>
          <a:ea typeface="+mn-ea"/>
        </a:defRPr>
      </a:lvl7pPr>
      <a:lvl8pPr marL="3429000" indent="-228600" algn="l" defTabSz="457200" rtl="0" eaLnBrk="0" fontAlgn="base" hangingPunct="0">
        <a:lnSpc>
          <a:spcPct val="93000"/>
        </a:lnSpc>
        <a:spcBef>
          <a:spcPct val="0"/>
        </a:spcBef>
        <a:spcAft>
          <a:spcPts val="338"/>
        </a:spcAft>
        <a:buClr>
          <a:srgbClr val="000000"/>
        </a:buClr>
        <a:buSzPct val="100000"/>
        <a:buFont typeface="Times New Roman" pitchFamily="16" charset="0"/>
        <a:defRPr sz="2400">
          <a:solidFill>
            <a:srgbClr val="FFFFFF"/>
          </a:solidFill>
          <a:latin typeface="+mn-lt"/>
          <a:ea typeface="+mn-ea"/>
        </a:defRPr>
      </a:lvl8pPr>
      <a:lvl9pPr marL="3886200" indent="-228600" algn="l" defTabSz="457200" rtl="0" eaLnBrk="0" fontAlgn="base" hangingPunct="0">
        <a:lnSpc>
          <a:spcPct val="93000"/>
        </a:lnSpc>
        <a:spcBef>
          <a:spcPct val="0"/>
        </a:spcBef>
        <a:spcAft>
          <a:spcPts val="338"/>
        </a:spcAft>
        <a:buClr>
          <a:srgbClr val="000000"/>
        </a:buClr>
        <a:buSzPct val="100000"/>
        <a:buFont typeface="Times New Roman" pitchFamily="16" charset="0"/>
        <a:defRPr sz="2400">
          <a:solidFill>
            <a:srgbClr val="FFFFFF"/>
          </a:solidFill>
          <a:latin typeface="+mn-lt"/>
          <a:ea typeface="+mn-ea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image" Target="../media/image9.png"/><Relationship Id="rId3" Type="http://schemas.openxmlformats.org/officeDocument/2006/relationships/tags" Target="../tags/tag2.xml"/><Relationship Id="rId21" Type="http://schemas.openxmlformats.org/officeDocument/2006/relationships/oleObject" Target="../embeddings/oleObject1.bin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oleObject" Target="../embeddings/oleObject5.bin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image" Target="../media/image1.jpeg"/><Relationship Id="rId29" Type="http://schemas.openxmlformats.org/officeDocument/2006/relationships/image" Target="../media/image12.png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oleObject" Target="../embeddings/oleObject4.bin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oleObject" Target="../embeddings/oleObject3.bin"/><Relationship Id="rId28" Type="http://schemas.openxmlformats.org/officeDocument/2006/relationships/image" Target="../media/image11.png"/><Relationship Id="rId10" Type="http://schemas.openxmlformats.org/officeDocument/2006/relationships/tags" Target="../tags/tag9.xml"/><Relationship Id="rId19" Type="http://schemas.openxmlformats.org/officeDocument/2006/relationships/slideLayout" Target="../slideLayouts/slideLayout12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oleObject" Target="../embeddings/oleObject2.bin"/><Relationship Id="rId27" Type="http://schemas.openxmlformats.org/officeDocument/2006/relationships/image" Target="../media/image1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16409988" cy="92964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04194" y="952084"/>
            <a:ext cx="14209376" cy="4628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16257588" cy="9144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7171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16257588" cy="9144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7172" name="Text Box 3"/>
          <p:cNvSpPr txBox="1">
            <a:spLocks noChangeArrowheads="1"/>
          </p:cNvSpPr>
          <p:nvPr/>
        </p:nvSpPr>
        <p:spPr bwMode="auto">
          <a:xfrm>
            <a:off x="8200802" y="8172400"/>
            <a:ext cx="7669212" cy="58578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90000" tIns="45000" rIns="90000" bIns="45000"/>
          <a:lstStyle/>
          <a:p>
            <a:pPr>
              <a:buClrTx/>
              <a:buFontTx/>
              <a:buNone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altLang="es-ES" sz="3500" b="1" dirty="0" err="1">
                <a:solidFill>
                  <a:srgbClr val="4C4C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sidente</a:t>
            </a:r>
            <a:r>
              <a:rPr lang="en-US" altLang="es-ES" sz="3500" b="1" dirty="0">
                <a:solidFill>
                  <a:srgbClr val="4C4C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altLang="es-ES" sz="3500" b="1" dirty="0" err="1">
                <a:solidFill>
                  <a:srgbClr val="4C4C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</a:t>
            </a:r>
            <a:r>
              <a:rPr lang="en-US" altLang="es-ES" sz="3500" b="1" dirty="0">
                <a:solidFill>
                  <a:srgbClr val="4C4C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altLang="es-ES" sz="3500" b="1" dirty="0" err="1">
                <a:solidFill>
                  <a:srgbClr val="4C4C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publica</a:t>
            </a:r>
            <a:r>
              <a:rPr lang="en-US" altLang="es-ES" sz="3500" b="1" dirty="0">
                <a:solidFill>
                  <a:srgbClr val="4C4C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 </a:t>
            </a:r>
            <a:r>
              <a:rPr lang="en-US" altLang="es-ES" sz="3500" b="1" dirty="0" err="1">
                <a:solidFill>
                  <a:srgbClr val="4C4C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raguai</a:t>
            </a:r>
            <a:endParaRPr lang="en-US" altLang="es-ES" sz="3500" b="1" dirty="0">
              <a:solidFill>
                <a:srgbClr val="4C4C4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173" name="Text Box 4"/>
          <p:cNvSpPr txBox="1">
            <a:spLocks noChangeArrowheads="1"/>
          </p:cNvSpPr>
          <p:nvPr/>
        </p:nvSpPr>
        <p:spPr bwMode="auto">
          <a:xfrm>
            <a:off x="8200802" y="7238950"/>
            <a:ext cx="6391275" cy="8699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90000" tIns="45000" rIns="90000" bIns="45000"/>
          <a:lstStyle/>
          <a:p>
            <a:pPr>
              <a:buClrTx/>
              <a:buFontTx/>
              <a:buNone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altLang="es-ES" sz="5500" b="1" dirty="0" err="1">
                <a:solidFill>
                  <a:srgbClr val="4C4C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oracio</a:t>
            </a:r>
            <a:r>
              <a:rPr lang="en-US" altLang="es-ES" sz="5500" b="1" dirty="0">
                <a:solidFill>
                  <a:srgbClr val="4C4C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altLang="es-ES" sz="5500" b="1" dirty="0" err="1">
                <a:solidFill>
                  <a:srgbClr val="4C4C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rtes</a:t>
            </a:r>
            <a:endParaRPr lang="en-US" altLang="es-ES" sz="5500" b="1" dirty="0">
              <a:solidFill>
                <a:srgbClr val="4C4C4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Text Box 2"/>
          <p:cNvSpPr txBox="1">
            <a:spLocks noChangeArrowheads="1"/>
          </p:cNvSpPr>
          <p:nvPr/>
        </p:nvSpPr>
        <p:spPr bwMode="auto">
          <a:xfrm>
            <a:off x="633750" y="480287"/>
            <a:ext cx="7279020" cy="121139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90000" tIns="45000" rIns="90000" bIns="45000"/>
          <a:lstStyle/>
          <a:p>
            <a:pPr>
              <a:buClrTx/>
              <a:buFontTx/>
              <a:buNone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4000" b="1" dirty="0" err="1">
                <a:solidFill>
                  <a:srgbClr val="6666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isão</a:t>
            </a:r>
            <a:r>
              <a:rPr lang="en-US" sz="4000" b="1" dirty="0">
                <a:solidFill>
                  <a:srgbClr val="6666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4000" b="1" dirty="0" err="1">
                <a:solidFill>
                  <a:srgbClr val="6666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is</a:t>
            </a:r>
            <a:r>
              <a:rPr lang="en-US" sz="4000" b="1" dirty="0">
                <a:solidFill>
                  <a:srgbClr val="6666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e </a:t>
            </a:r>
            <a:r>
              <a:rPr lang="en-US" sz="4000" b="1" dirty="0" err="1">
                <a:solidFill>
                  <a:srgbClr val="6666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ongo</a:t>
            </a:r>
            <a:r>
              <a:rPr lang="en-US" sz="4000" b="1" dirty="0">
                <a:solidFill>
                  <a:srgbClr val="6666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4000" b="1" dirty="0" err="1">
                <a:solidFill>
                  <a:srgbClr val="6666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azo</a:t>
            </a:r>
            <a:endParaRPr lang="en-US" sz="4000" b="1" dirty="0">
              <a:solidFill>
                <a:srgbClr val="66666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279922" y="1422087"/>
            <a:ext cx="7704856" cy="660629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 hangingPunct="1">
              <a:buClrTx/>
              <a:buFontTx/>
              <a:buNone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</a:tabLst>
            </a:pPr>
            <a:r>
              <a:rPr lang="es-CL" sz="3500" i="1" dirty="0">
                <a:solidFill>
                  <a:srgbClr val="666666"/>
                </a:solidFill>
              </a:rPr>
              <a:t>“O</a:t>
            </a:r>
            <a:r>
              <a:rPr lang="es-PY" sz="3500" i="1" dirty="0">
                <a:solidFill>
                  <a:srgbClr val="666666"/>
                </a:solidFill>
              </a:rPr>
              <a:t> </a:t>
            </a:r>
            <a:r>
              <a:rPr lang="es-PY" sz="3500" i="1" dirty="0" err="1">
                <a:solidFill>
                  <a:srgbClr val="666666"/>
                </a:solidFill>
              </a:rPr>
              <a:t>Paraguai</a:t>
            </a:r>
            <a:r>
              <a:rPr lang="es-PY" sz="3500" i="1" dirty="0">
                <a:solidFill>
                  <a:srgbClr val="666666"/>
                </a:solidFill>
              </a:rPr>
              <a:t> esta entre os </a:t>
            </a:r>
            <a:r>
              <a:rPr lang="es-PY" sz="3500" i="1" dirty="0" err="1">
                <a:solidFill>
                  <a:srgbClr val="666666"/>
                </a:solidFill>
              </a:rPr>
              <a:t>mais</a:t>
            </a:r>
            <a:r>
              <a:rPr lang="es-PY" sz="3500" i="1" dirty="0">
                <a:solidFill>
                  <a:srgbClr val="666666"/>
                </a:solidFill>
              </a:rPr>
              <a:t> eficientes </a:t>
            </a:r>
            <a:r>
              <a:rPr lang="es-PY" sz="3500" i="1" dirty="0" err="1">
                <a:solidFill>
                  <a:srgbClr val="666666"/>
                </a:solidFill>
              </a:rPr>
              <a:t>produtores</a:t>
            </a:r>
            <a:r>
              <a:rPr lang="es-PY" sz="3500" i="1" dirty="0">
                <a:solidFill>
                  <a:srgbClr val="666666"/>
                </a:solidFill>
              </a:rPr>
              <a:t> de alimentos a nivel mundial; </a:t>
            </a:r>
            <a:r>
              <a:rPr lang="es-PY" sz="3500" i="1" dirty="0" err="1">
                <a:solidFill>
                  <a:srgbClr val="666666"/>
                </a:solidFill>
              </a:rPr>
              <a:t>aberto</a:t>
            </a:r>
            <a:r>
              <a:rPr lang="es-PY" sz="3500" i="1" dirty="0">
                <a:solidFill>
                  <a:srgbClr val="666666"/>
                </a:solidFill>
              </a:rPr>
              <a:t> e conectado </a:t>
            </a:r>
            <a:r>
              <a:rPr lang="es-PY" sz="3500" i="1" dirty="0" err="1">
                <a:solidFill>
                  <a:srgbClr val="666666"/>
                </a:solidFill>
              </a:rPr>
              <a:t>ao</a:t>
            </a:r>
            <a:r>
              <a:rPr lang="es-PY" sz="3500" i="1" dirty="0">
                <a:solidFill>
                  <a:srgbClr val="666666"/>
                </a:solidFill>
              </a:rPr>
              <a:t> mundo; </a:t>
            </a:r>
            <a:r>
              <a:rPr lang="es-PY" sz="3500" i="1" dirty="0" err="1">
                <a:solidFill>
                  <a:srgbClr val="666666"/>
                </a:solidFill>
              </a:rPr>
              <a:t>com</a:t>
            </a:r>
            <a:r>
              <a:rPr lang="es-PY" sz="3500" i="1" dirty="0">
                <a:solidFill>
                  <a:srgbClr val="666666"/>
                </a:solidFill>
              </a:rPr>
              <a:t> elevados índices de </a:t>
            </a:r>
            <a:r>
              <a:rPr lang="es-PY" sz="3500" i="1" dirty="0" err="1">
                <a:solidFill>
                  <a:srgbClr val="666666"/>
                </a:solidFill>
              </a:rPr>
              <a:t>desenvolvimento</a:t>
            </a:r>
            <a:r>
              <a:rPr lang="es-PY" sz="3500" i="1" dirty="0">
                <a:solidFill>
                  <a:srgbClr val="666666"/>
                </a:solidFill>
              </a:rPr>
              <a:t>; ambientalmente </a:t>
            </a:r>
            <a:r>
              <a:rPr lang="es-PY" sz="3500" i="1" dirty="0" err="1">
                <a:solidFill>
                  <a:srgbClr val="666666"/>
                </a:solidFill>
              </a:rPr>
              <a:t>sostenivel</a:t>
            </a:r>
            <a:r>
              <a:rPr lang="es-PY" sz="3500" i="1" dirty="0">
                <a:solidFill>
                  <a:srgbClr val="666666"/>
                </a:solidFill>
              </a:rPr>
              <a:t>; </a:t>
            </a:r>
            <a:r>
              <a:rPr lang="es-PY" sz="3500" i="1" dirty="0" err="1">
                <a:solidFill>
                  <a:srgbClr val="666666"/>
                </a:solidFill>
              </a:rPr>
              <a:t>garantindo</a:t>
            </a:r>
            <a:r>
              <a:rPr lang="es-PY" sz="3500" i="1" dirty="0">
                <a:solidFill>
                  <a:srgbClr val="666666"/>
                </a:solidFill>
              </a:rPr>
              <a:t> a </a:t>
            </a:r>
            <a:r>
              <a:rPr lang="es-PY" sz="3500" i="1" dirty="0" err="1">
                <a:solidFill>
                  <a:srgbClr val="666666"/>
                </a:solidFill>
              </a:rPr>
              <a:t>segurança</a:t>
            </a:r>
            <a:r>
              <a:rPr lang="es-PY" sz="3500" i="1" dirty="0">
                <a:solidFill>
                  <a:srgbClr val="666666"/>
                </a:solidFill>
              </a:rPr>
              <a:t> </a:t>
            </a:r>
            <a:r>
              <a:rPr lang="es-PY" sz="3500" i="1" dirty="0" err="1">
                <a:solidFill>
                  <a:srgbClr val="666666"/>
                </a:solidFill>
              </a:rPr>
              <a:t>cidadâ</a:t>
            </a:r>
            <a:r>
              <a:rPr lang="es-PY" sz="3500" i="1" dirty="0">
                <a:solidFill>
                  <a:srgbClr val="666666"/>
                </a:solidFill>
              </a:rPr>
              <a:t> e a </a:t>
            </a:r>
            <a:r>
              <a:rPr lang="es-PY" sz="3500" i="1" dirty="0" err="1">
                <a:solidFill>
                  <a:srgbClr val="666666"/>
                </a:solidFill>
              </a:rPr>
              <a:t>propriedade</a:t>
            </a:r>
            <a:r>
              <a:rPr lang="es-PY" sz="3500" i="1" dirty="0">
                <a:solidFill>
                  <a:srgbClr val="666666"/>
                </a:solidFill>
              </a:rPr>
              <a:t> privada; </a:t>
            </a:r>
            <a:r>
              <a:rPr lang="es-PY" sz="3500" i="1" dirty="0" err="1">
                <a:solidFill>
                  <a:srgbClr val="666666"/>
                </a:solidFill>
              </a:rPr>
              <a:t>com</a:t>
            </a:r>
            <a:r>
              <a:rPr lang="es-PY" sz="3500" i="1" dirty="0">
                <a:solidFill>
                  <a:srgbClr val="666666"/>
                </a:solidFill>
              </a:rPr>
              <a:t> </a:t>
            </a:r>
            <a:r>
              <a:rPr lang="es-PY" sz="3500" i="1" dirty="0" err="1">
                <a:solidFill>
                  <a:srgbClr val="666666"/>
                </a:solidFill>
              </a:rPr>
              <a:t>um</a:t>
            </a:r>
            <a:r>
              <a:rPr lang="es-PY" sz="3500" i="1" dirty="0">
                <a:solidFill>
                  <a:srgbClr val="666666"/>
                </a:solidFill>
              </a:rPr>
              <a:t> protagonismo grande da </a:t>
            </a:r>
            <a:r>
              <a:rPr lang="es-PY" sz="3500" i="1" dirty="0" err="1">
                <a:solidFill>
                  <a:srgbClr val="666666"/>
                </a:solidFill>
              </a:rPr>
              <a:t>mulher</a:t>
            </a:r>
            <a:r>
              <a:rPr lang="es-PY" sz="3500" i="1" dirty="0">
                <a:solidFill>
                  <a:srgbClr val="666666"/>
                </a:solidFill>
              </a:rPr>
              <a:t>, </a:t>
            </a:r>
            <a:r>
              <a:rPr lang="es-PY" sz="3500" i="1" dirty="0" err="1">
                <a:solidFill>
                  <a:srgbClr val="666666"/>
                </a:solidFill>
              </a:rPr>
              <a:t>com</a:t>
            </a:r>
            <a:r>
              <a:rPr lang="es-PY" sz="3500" i="1" dirty="0">
                <a:solidFill>
                  <a:srgbClr val="666666"/>
                </a:solidFill>
              </a:rPr>
              <a:t> </a:t>
            </a:r>
            <a:r>
              <a:rPr lang="es-PY" sz="3500" i="1" dirty="0" err="1">
                <a:solidFill>
                  <a:srgbClr val="666666"/>
                </a:solidFill>
              </a:rPr>
              <a:t>jovenes</a:t>
            </a:r>
            <a:r>
              <a:rPr lang="es-PY" sz="3500" i="1" dirty="0">
                <a:solidFill>
                  <a:srgbClr val="666666"/>
                </a:solidFill>
              </a:rPr>
              <a:t> emprendedores  </a:t>
            </a:r>
            <a:r>
              <a:rPr lang="es-PY" sz="3500" i="1" dirty="0" err="1">
                <a:solidFill>
                  <a:srgbClr val="666666"/>
                </a:solidFill>
              </a:rPr>
              <a:t>treinados</a:t>
            </a:r>
            <a:r>
              <a:rPr lang="es-PY" sz="3500" i="1" dirty="0">
                <a:solidFill>
                  <a:srgbClr val="666666"/>
                </a:solidFill>
              </a:rPr>
              <a:t> para liderar o país; e  </a:t>
            </a:r>
            <a:r>
              <a:rPr lang="es-PY" sz="3500" i="1" dirty="0" err="1">
                <a:solidFill>
                  <a:srgbClr val="666666"/>
                </a:solidFill>
              </a:rPr>
              <a:t>um</a:t>
            </a:r>
            <a:r>
              <a:rPr lang="es-PY" sz="3500" i="1" dirty="0">
                <a:solidFill>
                  <a:srgbClr val="666666"/>
                </a:solidFill>
              </a:rPr>
              <a:t> Estado solidario, equitativo, transparente  </a:t>
            </a:r>
            <a:r>
              <a:rPr lang="es-PY" sz="3500" i="1" dirty="0" err="1">
                <a:solidFill>
                  <a:srgbClr val="666666"/>
                </a:solidFill>
              </a:rPr>
              <a:t>sem</a:t>
            </a:r>
            <a:r>
              <a:rPr lang="es-PY" sz="3500" i="1" dirty="0">
                <a:solidFill>
                  <a:srgbClr val="666666"/>
                </a:solidFill>
              </a:rPr>
              <a:t> tolerancia </a:t>
            </a:r>
            <a:r>
              <a:rPr lang="es-PY" sz="3500" i="1" dirty="0" err="1">
                <a:solidFill>
                  <a:srgbClr val="666666"/>
                </a:solidFill>
              </a:rPr>
              <a:t>com</a:t>
            </a:r>
            <a:r>
              <a:rPr lang="es-PY" sz="3500" i="1" dirty="0">
                <a:solidFill>
                  <a:srgbClr val="666666"/>
                </a:solidFill>
              </a:rPr>
              <a:t> a </a:t>
            </a:r>
            <a:r>
              <a:rPr lang="es-PY" sz="3500" i="1" dirty="0" err="1">
                <a:solidFill>
                  <a:srgbClr val="666666"/>
                </a:solidFill>
              </a:rPr>
              <a:t>corrupção</a:t>
            </a:r>
            <a:r>
              <a:rPr lang="es-PY" sz="3500" i="1" dirty="0">
                <a:solidFill>
                  <a:srgbClr val="666666"/>
                </a:solidFill>
              </a:rPr>
              <a:t>”.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16257588" cy="9144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18437" name="Text Box 4"/>
          <p:cNvSpPr txBox="1">
            <a:spLocks noChangeArrowheads="1"/>
          </p:cNvSpPr>
          <p:nvPr/>
        </p:nvSpPr>
        <p:spPr bwMode="auto">
          <a:xfrm>
            <a:off x="2800202" y="173658"/>
            <a:ext cx="6042025" cy="8699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90000" tIns="45000" rIns="90000" bIns="45000"/>
          <a:lstStyle/>
          <a:p>
            <a:pPr>
              <a:buClrTx/>
              <a:buFontTx/>
              <a:buNone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it-IT" altLang="es-ES" sz="4800" b="1" dirty="0" smtClean="0">
                <a:solidFill>
                  <a:srgbClr val="002060"/>
                </a:solidFill>
              </a:rPr>
              <a:t>Motivo de investimento no Paraguai</a:t>
            </a:r>
            <a:endParaRPr lang="en-US" altLang="es-ES" sz="4800" b="1" dirty="0">
              <a:solidFill>
                <a:srgbClr val="002060"/>
              </a:solidFill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1072010" y="899592"/>
            <a:ext cx="14185576" cy="64940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indent="-514350">
              <a:lnSpc>
                <a:spcPct val="100000"/>
              </a:lnSpc>
              <a:buFont typeface="+mj-lt"/>
              <a:buAutoNum type="arabicPeriod"/>
              <a:defRPr/>
            </a:pPr>
            <a:r>
              <a:rPr lang="pt-BR" sz="3200" b="1" dirty="0" smtClean="0">
                <a:solidFill>
                  <a:schemeClr val="tx1"/>
                </a:solidFill>
              </a:rPr>
              <a:t>Países irmãos com muitos interesses comuns entre </a:t>
            </a:r>
            <a:r>
              <a:rPr lang="pt-BR" sz="3200" b="1" dirty="0" smtClean="0">
                <a:solidFill>
                  <a:schemeClr val="tx1"/>
                </a:solidFill>
              </a:rPr>
              <a:t>nos.</a:t>
            </a:r>
            <a:endParaRPr lang="pt-BR" sz="3200" b="1" dirty="0" smtClean="0">
              <a:solidFill>
                <a:schemeClr val="tx1"/>
              </a:solidFill>
            </a:endParaRPr>
          </a:p>
          <a:p>
            <a:pPr marL="742950" indent="-514350">
              <a:lnSpc>
                <a:spcPct val="100000"/>
              </a:lnSpc>
              <a:buFont typeface="+mj-lt"/>
              <a:buAutoNum type="arabicPeriod"/>
              <a:defRPr/>
            </a:pPr>
            <a:r>
              <a:rPr lang="pt-BR" sz="3200" b="1" dirty="0" smtClean="0">
                <a:solidFill>
                  <a:schemeClr val="tx1"/>
                </a:solidFill>
              </a:rPr>
              <a:t>Nossos presidentes tem </a:t>
            </a:r>
            <a:r>
              <a:rPr lang="pt-BR" sz="3200" b="1" dirty="0" err="1" smtClean="0">
                <a:solidFill>
                  <a:schemeClr val="tx1"/>
                </a:solidFill>
              </a:rPr>
              <a:t>espresado</a:t>
            </a:r>
            <a:r>
              <a:rPr lang="pt-BR" sz="3200" b="1" dirty="0" smtClean="0">
                <a:solidFill>
                  <a:schemeClr val="tx1"/>
                </a:solidFill>
              </a:rPr>
              <a:t> a conta de trabalhar juntos para o desenvolvimento de cadeias de integração produtiva com o enfoque “GANHAR-GANHAR</a:t>
            </a:r>
            <a:r>
              <a:rPr lang="pt-BR" sz="3200" b="1" dirty="0" smtClean="0">
                <a:solidFill>
                  <a:schemeClr val="tx1"/>
                </a:solidFill>
              </a:rPr>
              <a:t>”.</a:t>
            </a:r>
            <a:endParaRPr lang="pt-BR" sz="3200" b="1" dirty="0" smtClean="0">
              <a:solidFill>
                <a:schemeClr val="tx1"/>
              </a:solidFill>
            </a:endParaRPr>
          </a:p>
          <a:p>
            <a:pPr marL="742950" indent="-514350">
              <a:lnSpc>
                <a:spcPct val="100000"/>
              </a:lnSpc>
              <a:buFont typeface="+mj-lt"/>
              <a:buAutoNum type="arabicPeriod"/>
              <a:defRPr/>
            </a:pPr>
            <a:r>
              <a:rPr lang="pt-BR" sz="3200" b="1" dirty="0" smtClean="0">
                <a:solidFill>
                  <a:schemeClr val="tx1"/>
                </a:solidFill>
              </a:rPr>
              <a:t>Nossos países possuem uma ampla fronteira que </a:t>
            </a:r>
            <a:r>
              <a:rPr lang="pt-BR" sz="3200" b="1" dirty="0" smtClean="0">
                <a:solidFill>
                  <a:schemeClr val="tx1"/>
                </a:solidFill>
              </a:rPr>
              <a:t>permite </a:t>
            </a:r>
            <a:r>
              <a:rPr lang="pt-BR" sz="3200" b="1" dirty="0" smtClean="0">
                <a:solidFill>
                  <a:schemeClr val="tx1"/>
                </a:solidFill>
              </a:rPr>
              <a:t>a relocalização de industrias, para conseguir menores custos de produção.</a:t>
            </a:r>
          </a:p>
          <a:p>
            <a:pPr marL="742950" indent="-514350">
              <a:lnSpc>
                <a:spcPct val="100000"/>
              </a:lnSpc>
              <a:buFont typeface="+mj-lt"/>
              <a:buAutoNum type="arabicPeriod"/>
              <a:defRPr/>
            </a:pPr>
            <a:r>
              <a:rPr lang="pt-BR" sz="3200" b="1" dirty="0" smtClean="0">
                <a:solidFill>
                  <a:schemeClr val="tx1"/>
                </a:solidFill>
              </a:rPr>
              <a:t>Mao de obra jovem e </a:t>
            </a:r>
            <a:r>
              <a:rPr lang="pt-BR" sz="3200" b="1" dirty="0" smtClean="0">
                <a:solidFill>
                  <a:schemeClr val="tx1"/>
                </a:solidFill>
              </a:rPr>
              <a:t>treinável.</a:t>
            </a:r>
            <a:endParaRPr lang="pt-BR" sz="3200" b="1" dirty="0" smtClean="0">
              <a:solidFill>
                <a:schemeClr val="tx1"/>
              </a:solidFill>
            </a:endParaRPr>
          </a:p>
          <a:p>
            <a:pPr marL="742950" indent="-514350">
              <a:lnSpc>
                <a:spcPct val="100000"/>
              </a:lnSpc>
              <a:buFont typeface="+mj-lt"/>
              <a:buAutoNum type="arabicPeriod"/>
              <a:tabLst>
                <a:tab pos="9867900" algn="l"/>
              </a:tabLst>
              <a:defRPr/>
            </a:pPr>
            <a:r>
              <a:rPr lang="pt-BR" sz="3200" b="1" dirty="0" smtClean="0">
                <a:solidFill>
                  <a:schemeClr val="tx1"/>
                </a:solidFill>
              </a:rPr>
              <a:t>Regime tributário mais Competitivo do </a:t>
            </a:r>
            <a:r>
              <a:rPr lang="pt-BR" sz="3200" b="1" dirty="0" smtClean="0">
                <a:solidFill>
                  <a:schemeClr val="tx1"/>
                </a:solidFill>
              </a:rPr>
              <a:t>MERCOSUL.</a:t>
            </a:r>
            <a:endParaRPr lang="pt-BR" sz="3200" b="1" dirty="0" smtClean="0">
              <a:solidFill>
                <a:schemeClr val="tx1"/>
              </a:solidFill>
            </a:endParaRPr>
          </a:p>
          <a:p>
            <a:pPr marL="742950" indent="-514350">
              <a:lnSpc>
                <a:spcPct val="100000"/>
              </a:lnSpc>
              <a:buFont typeface="+mj-lt"/>
              <a:buAutoNum type="arabicPeriod"/>
              <a:tabLst>
                <a:tab pos="9867900" algn="l"/>
              </a:tabLst>
              <a:defRPr/>
            </a:pPr>
            <a:r>
              <a:rPr lang="pt-BR" sz="3200" b="1" dirty="0" smtClean="0">
                <a:solidFill>
                  <a:schemeClr val="tx1"/>
                </a:solidFill>
              </a:rPr>
              <a:t>“Regras de Origem MERCOSUL</a:t>
            </a:r>
            <a:r>
              <a:rPr lang="pt-BR" sz="3200" b="1" dirty="0" smtClean="0">
                <a:solidFill>
                  <a:schemeClr val="tx1"/>
                </a:solidFill>
              </a:rPr>
              <a:t>”, </a:t>
            </a:r>
            <a:r>
              <a:rPr lang="pt-BR" sz="3200" b="1" dirty="0" smtClean="0">
                <a:solidFill>
                  <a:schemeClr val="tx1"/>
                </a:solidFill>
              </a:rPr>
              <a:t>mais favoráveis produzindo no </a:t>
            </a:r>
            <a:r>
              <a:rPr lang="pt-BR" sz="3200" b="1" dirty="0" smtClean="0">
                <a:solidFill>
                  <a:schemeClr val="tx1"/>
                </a:solidFill>
              </a:rPr>
              <a:t>Paraguai</a:t>
            </a:r>
            <a:r>
              <a:rPr lang="pt-BR" sz="3200" b="1" dirty="0" smtClean="0">
                <a:solidFill>
                  <a:schemeClr val="tx1"/>
                </a:solidFill>
              </a:rPr>
              <a:t>.</a:t>
            </a:r>
            <a:endParaRPr lang="pt-BR" sz="3200" b="1" dirty="0" smtClean="0">
              <a:solidFill>
                <a:schemeClr val="tx1"/>
              </a:solidFill>
            </a:endParaRPr>
          </a:p>
          <a:p>
            <a:pPr marL="742950" indent="-514350">
              <a:lnSpc>
                <a:spcPct val="100000"/>
              </a:lnSpc>
              <a:buFont typeface="+mj-lt"/>
              <a:buAutoNum type="arabicPeriod"/>
              <a:tabLst>
                <a:tab pos="9867900" algn="l"/>
              </a:tabLst>
              <a:defRPr/>
            </a:pPr>
            <a:r>
              <a:rPr lang="pt-BR" sz="3200" b="1" dirty="0" smtClean="0">
                <a:solidFill>
                  <a:schemeClr val="tx1"/>
                </a:solidFill>
              </a:rPr>
              <a:t>Acesso a Mercados regionais e de Europa com  vantagens competitivas para exportação.</a:t>
            </a:r>
            <a:endParaRPr lang="pt-BR" sz="32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36512"/>
            <a:ext cx="16257588" cy="9144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18437" name="Text Box 4"/>
          <p:cNvSpPr txBox="1">
            <a:spLocks noChangeArrowheads="1"/>
          </p:cNvSpPr>
          <p:nvPr/>
        </p:nvSpPr>
        <p:spPr bwMode="auto">
          <a:xfrm>
            <a:off x="1538288" y="3616324"/>
            <a:ext cx="8966770" cy="196378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90000" tIns="45000" rIns="90000" bIns="45000"/>
          <a:lstStyle/>
          <a:p>
            <a:pPr marL="742950" indent="-514350">
              <a:lnSpc>
                <a:spcPct val="100000"/>
              </a:lnSpc>
              <a:buFont typeface="+mj-lt"/>
              <a:buAutoNum type="arabicPeriod"/>
              <a:defRPr/>
            </a:pPr>
            <a:endParaRPr lang="en-US" sz="6000" b="1" dirty="0" smtClean="0">
              <a:solidFill>
                <a:schemeClr val="tx1"/>
              </a:solidFill>
            </a:endParaRPr>
          </a:p>
        </p:txBody>
      </p:sp>
      <p:graphicFrame>
        <p:nvGraphicFramePr>
          <p:cNvPr id="5" name="4 Tabla"/>
          <p:cNvGraphicFramePr>
            <a:graphicFrameLocks noGrp="1"/>
          </p:cNvGraphicFramePr>
          <p:nvPr/>
        </p:nvGraphicFramePr>
        <p:xfrm>
          <a:off x="351930" y="683568"/>
          <a:ext cx="15563235" cy="6729576"/>
        </p:xfrm>
        <a:graphic>
          <a:graphicData uri="http://schemas.openxmlformats.org/drawingml/2006/table">
            <a:tbl>
              <a:tblPr/>
              <a:tblGrid>
                <a:gridCol w="4142296"/>
                <a:gridCol w="2988262"/>
                <a:gridCol w="4265885"/>
                <a:gridCol w="4166792"/>
              </a:tblGrid>
              <a:tr h="62901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4000" b="1" noProof="0" dirty="0" smtClean="0">
                          <a:solidFill>
                            <a:srgbClr val="002060"/>
                          </a:solidFill>
                          <a:latin typeface="Segoe UI Light"/>
                          <a:ea typeface="Calibri"/>
                          <a:cs typeface="Times New Roman"/>
                        </a:rPr>
                        <a:t>Setor</a:t>
                      </a:r>
                      <a:endParaRPr lang="pt-BR" sz="4000" noProof="0" dirty="0">
                        <a:solidFill>
                          <a:srgbClr val="002060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17" marR="47617" marT="0" marB="0"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4000" b="1" noProof="0" dirty="0" smtClean="0">
                          <a:solidFill>
                            <a:srgbClr val="002060"/>
                          </a:solidFill>
                          <a:latin typeface="Segoe UI Light"/>
                          <a:ea typeface="Calibri"/>
                          <a:cs typeface="Times New Roman"/>
                        </a:rPr>
                        <a:t> Fatores Competitivos</a:t>
                      </a:r>
                      <a:endParaRPr lang="pt-BR" sz="4000" noProof="0" dirty="0">
                        <a:solidFill>
                          <a:srgbClr val="002060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17" marR="47617" marT="0" marB="0" anchor="ctr">
                    <a:lnL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P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4000" b="1" noProof="0" smtClean="0">
                          <a:solidFill>
                            <a:srgbClr val="002060"/>
                          </a:solidFill>
                          <a:latin typeface="Segoe UI Light"/>
                          <a:ea typeface="Calibri"/>
                          <a:cs typeface="Times New Roman"/>
                        </a:rPr>
                        <a:t>Paraguai vs. Brasil</a:t>
                      </a:r>
                      <a:endParaRPr lang="pt-BR" sz="4000" noProof="0">
                        <a:solidFill>
                          <a:srgbClr val="002060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17" marR="47617" marT="0" marB="0" anchor="ctr">
                    <a:lnL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14579">
                <a:tc rowSpan="7"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pt-BR" sz="3200" b="1" noProof="0" dirty="0" err="1" smtClean="0">
                          <a:solidFill>
                            <a:schemeClr val="tx1"/>
                          </a:solidFill>
                          <a:latin typeface="Segoe UI Light"/>
                          <a:ea typeface="Calibri"/>
                          <a:cs typeface="Times New Roman"/>
                        </a:rPr>
                        <a:t>Vestimentos</a:t>
                      </a:r>
                      <a:endParaRPr lang="pt-BR" sz="3200" b="1" noProof="0" dirty="0" smtClean="0">
                        <a:solidFill>
                          <a:schemeClr val="tx1"/>
                        </a:solidFill>
                        <a:latin typeface="Segoe UI Light"/>
                        <a:ea typeface="Calibri"/>
                        <a:cs typeface="Times New Roman"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pt-BR" sz="3200" b="1" noProof="0" dirty="0" smtClean="0">
                          <a:solidFill>
                            <a:schemeClr val="tx1"/>
                          </a:solidFill>
                          <a:latin typeface="Segoe UI Light"/>
                          <a:ea typeface="Calibri"/>
                          <a:cs typeface="Times New Roman"/>
                        </a:rPr>
                        <a:t>Calçados 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pt-BR" sz="3200" b="1" noProof="0" dirty="0" smtClean="0">
                          <a:solidFill>
                            <a:schemeClr val="tx1"/>
                          </a:solidFill>
                          <a:latin typeface="Segoe UI Light"/>
                          <a:ea typeface="Calibri"/>
                          <a:cs typeface="Times New Roman"/>
                        </a:rPr>
                        <a:t>Autopartes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pt-BR" sz="3200" b="1" noProof="0" dirty="0" err="1" smtClean="0">
                          <a:solidFill>
                            <a:schemeClr val="tx1"/>
                          </a:solidFill>
                          <a:latin typeface="Segoe UI Light"/>
                          <a:ea typeface="Calibri"/>
                          <a:cs typeface="Times New Roman"/>
                        </a:rPr>
                        <a:t>Eletrodomesticos</a:t>
                      </a:r>
                      <a:endParaRPr lang="pt-BR" sz="3200" b="1" noProof="0" dirty="0" smtClean="0">
                        <a:solidFill>
                          <a:schemeClr val="tx1"/>
                        </a:solidFill>
                        <a:latin typeface="Segoe UI Light"/>
                        <a:ea typeface="Calibri"/>
                        <a:cs typeface="Times New Roman"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pt-BR" sz="3200" b="1" noProof="0" dirty="0" smtClean="0">
                          <a:solidFill>
                            <a:schemeClr val="tx1"/>
                          </a:solidFill>
                          <a:latin typeface="Segoe UI Light"/>
                          <a:ea typeface="Calibri"/>
                          <a:cs typeface="Times New Roman"/>
                        </a:rPr>
                        <a:t>Produção </a:t>
                      </a:r>
                      <a:r>
                        <a:rPr lang="pt-BR" sz="3200" b="1" noProof="0" dirty="0" err="1" smtClean="0">
                          <a:solidFill>
                            <a:schemeClr val="tx1"/>
                          </a:solidFill>
                          <a:latin typeface="Segoe UI Light"/>
                          <a:ea typeface="Calibri"/>
                          <a:cs typeface="Times New Roman"/>
                        </a:rPr>
                        <a:t>Agricola</a:t>
                      </a:r>
                      <a:r>
                        <a:rPr lang="pt-BR" sz="3200" b="1" noProof="0" dirty="0" smtClean="0">
                          <a:solidFill>
                            <a:schemeClr val="tx1"/>
                          </a:solidFill>
                          <a:latin typeface="Segoe UI Light"/>
                          <a:ea typeface="Calibri"/>
                          <a:cs typeface="Times New Roman"/>
                        </a:rPr>
                        <a:t> 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pt-BR" sz="3200" b="1" noProof="0" dirty="0" smtClean="0">
                          <a:solidFill>
                            <a:schemeClr val="tx1"/>
                          </a:solidFill>
                          <a:latin typeface="Segoe UI Light"/>
                          <a:ea typeface="Calibri"/>
                          <a:cs typeface="Times New Roman"/>
                        </a:rPr>
                        <a:t>Produtos</a:t>
                      </a:r>
                      <a:r>
                        <a:rPr lang="pt-BR" sz="3200" b="1" baseline="0" noProof="0" dirty="0" smtClean="0">
                          <a:solidFill>
                            <a:schemeClr val="tx1"/>
                          </a:solidFill>
                          <a:latin typeface="Segoe UI Ligh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pt-BR" sz="3200" b="1" baseline="0" noProof="0" dirty="0" err="1" smtClean="0">
                          <a:solidFill>
                            <a:schemeClr val="tx1"/>
                          </a:solidFill>
                          <a:latin typeface="Segoe UI Light"/>
                          <a:ea typeface="Calibri"/>
                          <a:cs typeface="Times New Roman"/>
                        </a:rPr>
                        <a:t>Quimicos</a:t>
                      </a:r>
                      <a:r>
                        <a:rPr lang="pt-BR" sz="3200" b="1" baseline="0" noProof="0" dirty="0" smtClean="0">
                          <a:solidFill>
                            <a:schemeClr val="tx1"/>
                          </a:solidFill>
                          <a:latin typeface="Segoe UI Light"/>
                          <a:ea typeface="Calibri"/>
                          <a:cs typeface="Times New Roman"/>
                        </a:rPr>
                        <a:t> e Metalurgia</a:t>
                      </a:r>
                      <a:endParaRPr lang="pt-BR" sz="3200" noProof="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17" marR="47617" marT="0" marB="0"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3200" b="1" noProof="0" smtClean="0">
                          <a:solidFill>
                            <a:schemeClr val="tx1"/>
                          </a:solidFill>
                          <a:latin typeface="Segoe UI Light"/>
                          <a:ea typeface="Calibri"/>
                          <a:cs typeface="Times New Roman"/>
                        </a:rPr>
                        <a:t>Trabalho: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3200" b="1" noProof="0" smtClean="0">
                          <a:solidFill>
                            <a:schemeClr val="tx1"/>
                          </a:solidFill>
                          <a:latin typeface="Segoe UI Light"/>
                          <a:ea typeface="Calibri"/>
                          <a:cs typeface="Times New Roman"/>
                        </a:rPr>
                        <a:t>Salario /Horas (Media em USD)</a:t>
                      </a:r>
                      <a:endParaRPr lang="pt-BR" sz="2800" b="0" noProof="0" smtClean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17" marR="47617" marT="0" marB="0"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pt-BR" sz="3200" b="1" kern="1200" noProof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Mao</a:t>
                      </a:r>
                      <a:r>
                        <a:rPr lang="pt-BR" sz="3200" b="1" kern="1200" baseline="0" noProof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 de ob</a:t>
                      </a:r>
                      <a:r>
                        <a:rPr lang="pt-BR" sz="3200" b="1" kern="1200" noProof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ra treinada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pt-BR" sz="3200" b="1" kern="1200" noProof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Operador</a:t>
                      </a:r>
                      <a:r>
                        <a:rPr lang="pt-BR" sz="3200" b="1" kern="1200" baseline="0" noProof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 de Maquina</a:t>
                      </a:r>
                      <a:r>
                        <a:rPr lang="pt-BR" sz="3200" b="1" kern="1200" noProof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 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pt-BR" sz="3200" b="1" kern="1200" noProof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Mão</a:t>
                      </a:r>
                      <a:r>
                        <a:rPr lang="pt-BR" sz="3200" b="1" kern="1200" baseline="0" noProof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 de obra não qualificada</a:t>
                      </a:r>
                      <a:endParaRPr lang="pt-BR" sz="3200" b="1" kern="1200" noProof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47617" marR="47617" marT="0" marB="0"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lvl="0" indent="-34290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pt-BR" sz="3200" noProof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(-)</a:t>
                      </a:r>
                      <a:r>
                        <a:rPr lang="pt-BR" sz="3200" baseline="0" noProof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 </a:t>
                      </a:r>
                      <a:r>
                        <a:rPr lang="pt-BR" sz="3200" noProof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53,2%.</a:t>
                      </a:r>
                      <a:endParaRPr lang="pt-BR" sz="3200" noProof="0" smtClean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342900" lvl="0" indent="-34290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pt-BR" sz="3200" noProof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(-) 29,3%.</a:t>
                      </a:r>
                      <a:endParaRPr lang="pt-BR" sz="3200" noProof="0" smtClean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342900" lvl="0" indent="-34290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pt-BR" sz="3200" noProof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(-) 35,2%.</a:t>
                      </a:r>
                      <a:endParaRPr lang="pt-BR" sz="3200" noProof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17" marR="47617" marT="0" marB="0"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7902">
                <a:tc vMerge="1">
                  <a:txBody>
                    <a:bodyPr/>
                    <a:lstStyle/>
                    <a:p>
                      <a:endParaRPr lang="es-P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3200" b="1" noProof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Media</a:t>
                      </a:r>
                      <a:r>
                        <a:rPr lang="pt-BR" sz="3200" b="1" baseline="0" noProof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 Salarial</a:t>
                      </a:r>
                      <a:r>
                        <a:rPr lang="pt-BR" sz="3200" b="1" noProof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 / Mes</a:t>
                      </a:r>
                      <a:endParaRPr lang="pt-BR" sz="3200" noProof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17" marR="47617" marT="0" marB="0"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lvl="0" indent="-342900" algn="ctr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pt-BR" sz="3200" noProof="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(-) 20,7%.</a:t>
                      </a:r>
                      <a:endParaRPr lang="pt-BR" sz="3200" noProof="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17" marR="47617" marT="0" marB="0"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56925">
                <a:tc vMerge="1">
                  <a:txBody>
                    <a:bodyPr/>
                    <a:lstStyle/>
                    <a:p>
                      <a:endParaRPr lang="es-PY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3200" b="1" kern="1200" noProof="0" smtClean="0">
                          <a:solidFill>
                            <a:schemeClr val="tx1"/>
                          </a:solidFill>
                          <a:latin typeface="Segoe UI Light"/>
                          <a:ea typeface="Calibri"/>
                          <a:cs typeface="Times New Roman"/>
                        </a:rPr>
                        <a:t>Populacao</a:t>
                      </a:r>
                      <a:r>
                        <a:rPr lang="pt-BR" sz="3200" b="1" kern="1200" baseline="0" noProof="0" smtClean="0">
                          <a:solidFill>
                            <a:schemeClr val="tx1"/>
                          </a:solidFill>
                          <a:latin typeface="Segoe UI Light"/>
                          <a:ea typeface="Calibri"/>
                          <a:cs typeface="Times New Roman"/>
                        </a:rPr>
                        <a:t> jovem</a:t>
                      </a:r>
                      <a:endParaRPr lang="pt-BR" sz="3200" b="1" kern="1200" noProof="0">
                        <a:solidFill>
                          <a:schemeClr val="tx1"/>
                        </a:solidFill>
                        <a:latin typeface="Segoe UI Light"/>
                        <a:ea typeface="Calibri"/>
                        <a:cs typeface="Times New Roman"/>
                      </a:endParaRPr>
                    </a:p>
                  </a:txBody>
                  <a:tcPr marL="47617" marR="47617" marT="0" marB="0"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s-PY" sz="32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17" marR="47617" marT="0" marB="0"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lvl="0" indent="-342900" algn="ctr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pt-BR" sz="3200" noProof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(+) 8,0%.</a:t>
                      </a:r>
                      <a:endParaRPr lang="pt-BR" sz="3200" noProof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17" marR="47617" marT="0" marB="0"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43771">
                <a:tc vMerge="1">
                  <a:txBody>
                    <a:bodyPr/>
                    <a:lstStyle/>
                    <a:p>
                      <a:endParaRPr lang="es-P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3200" b="1" noProof="0" smtClean="0">
                          <a:solidFill>
                            <a:schemeClr val="tx1"/>
                          </a:solidFill>
                          <a:latin typeface="Segoe UI Light"/>
                          <a:ea typeface="Calibri"/>
                          <a:cs typeface="Times New Roman"/>
                        </a:rPr>
                        <a:t>Energia</a:t>
                      </a:r>
                      <a:r>
                        <a:rPr lang="pt-BR" sz="3200" b="1" baseline="0" noProof="0" smtClean="0">
                          <a:solidFill>
                            <a:schemeClr val="tx1"/>
                          </a:solidFill>
                          <a:latin typeface="Segoe UI Light"/>
                          <a:ea typeface="Calibri"/>
                          <a:cs typeface="Times New Roman"/>
                        </a:rPr>
                        <a:t> eletrica</a:t>
                      </a:r>
                      <a:endParaRPr lang="pt-BR" sz="3200" b="1" noProof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17" marR="47617" marT="0" marB="0"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3200" b="1" noProof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USD/MWh</a:t>
                      </a:r>
                      <a:endParaRPr lang="pt-BR" sz="3200" noProof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17" marR="47617" marT="0" marB="0"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lvl="0" indent="-342900" algn="ctr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pt-BR" sz="3200" noProof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(-) 63,6%.</a:t>
                      </a:r>
                      <a:endParaRPr lang="pt-BR" sz="3200" noProof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17" marR="47617" marT="0" marB="0"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7902">
                <a:tc vMerge="1">
                  <a:txBody>
                    <a:bodyPr/>
                    <a:lstStyle/>
                    <a:p>
                      <a:endParaRPr lang="es-PY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3200" b="1" noProof="0" smtClean="0">
                          <a:solidFill>
                            <a:schemeClr val="tx1"/>
                          </a:solidFill>
                          <a:latin typeface="Segoe UI Light"/>
                          <a:ea typeface="Calibri"/>
                          <a:cs typeface="Times New Roman"/>
                        </a:rPr>
                        <a:t>Impostos</a:t>
                      </a:r>
                      <a:endParaRPr lang="pt-BR" sz="3200" b="1" noProof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17" marR="47617" marT="0" marB="0"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r>
                        <a:rPr lang="pt-BR" sz="3200" b="1" kern="1200" noProof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IVA</a:t>
                      </a:r>
                      <a:endParaRPr lang="pt-BR" sz="3200" b="1" kern="1200" noProof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47617" marR="47617" marT="0" marB="0"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lvl="0" indent="-342900" algn="ctr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pt-BR" sz="3200" noProof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(-) 63,2%.</a:t>
                      </a:r>
                      <a:endParaRPr lang="pt-BR" sz="3200" noProof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17" marR="47617" marT="0" marB="0"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0292">
                <a:tc vMerge="1">
                  <a:txBody>
                    <a:bodyPr/>
                    <a:lstStyle/>
                    <a:p>
                      <a:endParaRPr lang="es-P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Y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342900" lvl="0" indent="-342900" algn="ctr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pt-BR" sz="3200" noProof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(-) 60,0%.</a:t>
                      </a:r>
                      <a:endParaRPr lang="pt-BR" sz="3200" noProof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17" marR="47617" marT="0" marB="0"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60582">
                <a:tc vMerge="1">
                  <a:txBody>
                    <a:bodyPr/>
                    <a:lstStyle/>
                    <a:p>
                      <a:endParaRPr lang="es-P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s-PY" sz="32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17" marR="47617" marT="0" marB="0"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pt-BR" sz="3200" b="1" kern="1200" noProof="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IMPOSTO</a:t>
                      </a:r>
                      <a:r>
                        <a:rPr lang="pt-BR" sz="3200" b="1" kern="1200" baseline="0" noProof="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 DE RENDA</a:t>
                      </a:r>
                      <a:endParaRPr lang="pt-BR" sz="3200" b="1" kern="1200" noProof="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47617" marR="47617" marT="0" marB="0"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s-PY"/>
                    </a:p>
                  </a:txBody>
                  <a:tcPr/>
                </a:tc>
              </a:tr>
              <a:tr h="560582">
                <a:tc gridSpan="4"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en-US" sz="2400" i="1" noProof="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Times New Roman"/>
                        </a:rPr>
                        <a:t>FONTES: Supply Chain Report, IPIE - IDB, progress report, jan2014</a:t>
                      </a:r>
                      <a:endParaRPr lang="en-US" sz="2400" i="1" noProof="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17" marR="47617" marT="0" marB="0"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s-PY" sz="3200" b="1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17" marR="47617" marT="0" marB="0"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PY" sz="3200" b="1" kern="12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47617" marR="47617" marT="0" marB="0"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342900" lvl="0" indent="-342900" algn="ctr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endParaRPr lang="es-PY" sz="32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17" marR="47617" marT="0" marB="0"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6" name="5 CuadroTexto"/>
          <p:cNvSpPr txBox="1"/>
          <p:nvPr/>
        </p:nvSpPr>
        <p:spPr>
          <a:xfrm>
            <a:off x="351930" y="179512"/>
            <a:ext cx="15585805" cy="435825"/>
          </a:xfrm>
          <a:prstGeom prst="rect">
            <a:avLst/>
          </a:prstGeom>
          <a:solidFill>
            <a:srgbClr val="C00000"/>
          </a:solidFill>
        </p:spPr>
        <p:txBody>
          <a:bodyPr wrap="none" rtlCol="0">
            <a:spAutoFit/>
          </a:bodyPr>
          <a:lstStyle/>
          <a:p>
            <a:r>
              <a:rPr lang="es-PY" sz="2400" b="1" dirty="0" smtClean="0"/>
              <a:t>PRINCIPALES VENTAJAS COMPETITIVAS QUE OFRECE O PARAGUAI PARA EMPRESAS BRASILEIRAS</a:t>
            </a:r>
            <a:endParaRPr lang="es-PY" sz="2400" b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16257588" cy="9144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18437" name="Text Box 4"/>
          <p:cNvSpPr txBox="1">
            <a:spLocks noChangeArrowheads="1"/>
          </p:cNvSpPr>
          <p:nvPr/>
        </p:nvSpPr>
        <p:spPr bwMode="auto">
          <a:xfrm>
            <a:off x="1538288" y="3616324"/>
            <a:ext cx="8966770" cy="196378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90000" tIns="45000" rIns="90000" bIns="45000"/>
          <a:lstStyle/>
          <a:p>
            <a:pPr marL="742950" indent="-514350">
              <a:lnSpc>
                <a:spcPct val="100000"/>
              </a:lnSpc>
              <a:buFont typeface="+mj-lt"/>
              <a:buAutoNum type="arabicPeriod"/>
              <a:defRPr/>
            </a:pPr>
            <a:endParaRPr lang="en-US" sz="6000" b="1" dirty="0" smtClean="0">
              <a:solidFill>
                <a:schemeClr val="tx1"/>
              </a:solidFill>
            </a:endParaRPr>
          </a:p>
        </p:txBody>
      </p:sp>
      <p:sp>
        <p:nvSpPr>
          <p:cNvPr id="78" name="Rectangle 54"/>
          <p:cNvSpPr>
            <a:spLocks noChangeArrowheads="1"/>
          </p:cNvSpPr>
          <p:nvPr/>
        </p:nvSpPr>
        <p:spPr bwMode="auto">
          <a:xfrm>
            <a:off x="783978" y="251520"/>
            <a:ext cx="14617623" cy="738664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PY" sz="2400" b="0" i="0" u="none" strike="noStrike" cap="none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latin typeface="+mj-lt"/>
                <a:cs typeface="Arial" pitchFamily="34" charset="0"/>
              </a:rPr>
              <a:t> </a:t>
            </a:r>
            <a:r>
              <a:rPr kumimoji="0" lang="es-PY" sz="2400" b="1" i="0" u="none" strike="noStrike" cap="none" normalizeH="0" baseline="0" dirty="0" smtClean="0">
                <a:ln>
                  <a:noFill/>
                </a:ln>
                <a:effectLst/>
                <a:latin typeface="+mj-lt"/>
                <a:cs typeface="Arial" pitchFamily="34" charset="0"/>
              </a:rPr>
              <a:t>IMPACTO DE EMPRESAS BRASILEIRAS</a:t>
            </a:r>
            <a:r>
              <a:rPr kumimoji="0" lang="es-PY" sz="2400" b="1" i="0" u="none" strike="noStrike" cap="none" normalizeH="0" dirty="0" smtClean="0">
                <a:ln>
                  <a:noFill/>
                </a:ln>
                <a:effectLst/>
                <a:latin typeface="+mj-lt"/>
                <a:cs typeface="Arial" pitchFamily="34" charset="0"/>
              </a:rPr>
              <a:t> NO</a:t>
            </a:r>
            <a:r>
              <a:rPr kumimoji="0" lang="es-PY" sz="2400" b="1" i="0" u="none" strike="noStrike" cap="none" normalizeH="0" baseline="0" dirty="0" smtClean="0">
                <a:ln>
                  <a:noFill/>
                </a:ln>
                <a:effectLst/>
                <a:latin typeface="+mj-lt"/>
                <a:cs typeface="Arial" pitchFamily="34" charset="0"/>
              </a:rPr>
              <a:t> PARAGUAI NAS EXPORTACOES TOTAIS AO BRASIL</a:t>
            </a:r>
            <a:r>
              <a:rPr kumimoji="0" lang="es-PY" sz="2400" b="1" i="0" u="none" strike="noStrike" cap="none" normalizeH="0" dirty="0" smtClean="0">
                <a:ln>
                  <a:noFill/>
                </a:ln>
                <a:effectLst/>
                <a:latin typeface="+mj-lt"/>
                <a:cs typeface="Arial" pitchFamily="34" charset="0"/>
              </a:rPr>
              <a:t>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PY" sz="2400" b="1" i="0" u="none" strike="noStrike" cap="none" normalizeH="0" dirty="0" smtClean="0">
                <a:ln>
                  <a:noFill/>
                </a:ln>
                <a:effectLst/>
                <a:latin typeface="+mj-lt"/>
                <a:cs typeface="Arial" pitchFamily="34" charset="0"/>
              </a:rPr>
              <a:t>ANO 2013</a:t>
            </a:r>
            <a:endParaRPr kumimoji="0" lang="es-PY" sz="2000" b="1" i="0" u="none" strike="noStrike" cap="none" normalizeH="0" baseline="0" dirty="0" smtClean="0">
              <a:ln>
                <a:noFill/>
              </a:ln>
              <a:effectLst/>
              <a:latin typeface="+mj-lt"/>
              <a:cs typeface="Arial" pitchFamily="34" charset="0"/>
            </a:endParaRPr>
          </a:p>
        </p:txBody>
      </p:sp>
      <p:graphicFrame>
        <p:nvGraphicFramePr>
          <p:cNvPr id="79" name="78 Tabla"/>
          <p:cNvGraphicFramePr>
            <a:graphicFrameLocks noGrp="1"/>
          </p:cNvGraphicFramePr>
          <p:nvPr/>
        </p:nvGraphicFramePr>
        <p:xfrm>
          <a:off x="1936106" y="1475656"/>
          <a:ext cx="11953328" cy="5652135"/>
        </p:xfrm>
        <a:graphic>
          <a:graphicData uri="http://schemas.openxmlformats.org/drawingml/2006/table">
            <a:tbl>
              <a:tblPr/>
              <a:tblGrid>
                <a:gridCol w="2988332"/>
                <a:gridCol w="2988332"/>
                <a:gridCol w="2988332"/>
                <a:gridCol w="2988332"/>
              </a:tblGrid>
              <a:tr h="813567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pt-BR" sz="2800" b="1" i="0" u="none" strike="noStrike" noProof="0" smtClean="0">
                          <a:solidFill>
                            <a:srgbClr val="000000"/>
                          </a:solidFill>
                          <a:latin typeface="Calibri"/>
                        </a:rPr>
                        <a:t>Setor</a:t>
                      </a:r>
                      <a:endParaRPr lang="pt-BR" sz="2800" b="1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s-PY" sz="28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b="1" i="0" u="none" strike="noStrike" noProof="0" smtClean="0">
                          <a:solidFill>
                            <a:srgbClr val="000000"/>
                          </a:solidFill>
                          <a:latin typeface="Calibri"/>
                        </a:rPr>
                        <a:t>En Millones USD (FOB)</a:t>
                      </a:r>
                      <a:endParaRPr lang="pt-BR" sz="2800" b="1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b="1" i="0" u="none" strike="noStrike" noProof="0" smtClean="0">
                          <a:solidFill>
                            <a:srgbClr val="000000"/>
                          </a:solidFill>
                          <a:latin typeface="Calibri"/>
                        </a:rPr>
                        <a:t>% del </a:t>
                      </a:r>
                    </a:p>
                    <a:p>
                      <a:pPr algn="ctr" fontAlgn="b"/>
                      <a:r>
                        <a:rPr lang="pt-BR" sz="2800" b="1" i="0" u="none" strike="noStrike" noProof="0" smtClean="0">
                          <a:solidFill>
                            <a:srgbClr val="000000"/>
                          </a:solidFill>
                          <a:latin typeface="Calibri"/>
                        </a:rPr>
                        <a:t>Total General</a:t>
                      </a:r>
                      <a:endParaRPr lang="pt-BR" sz="2800" b="1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1273"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2800" b="0" i="0" u="none" strike="noStrike" noProof="0" smtClean="0">
                          <a:solidFill>
                            <a:srgbClr val="000000"/>
                          </a:solidFill>
                          <a:latin typeface="Calibri"/>
                        </a:rPr>
                        <a:t>Frigrorificos (5 empresas)</a:t>
                      </a:r>
                      <a:endParaRPr lang="pt-BR" sz="2800" b="0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s-PY" sz="2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b="0" i="0" u="none" strike="noStrike" noProof="0" smtClean="0">
                          <a:solidFill>
                            <a:srgbClr val="000000"/>
                          </a:solidFill>
                          <a:latin typeface="Calibri"/>
                        </a:rPr>
                        <a:t>99,6</a:t>
                      </a:r>
                      <a:endParaRPr lang="pt-BR" sz="2800" b="0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b="0" i="0" u="none" strike="noStrike" noProof="0" smtClean="0">
                          <a:solidFill>
                            <a:srgbClr val="000000"/>
                          </a:solidFill>
                          <a:latin typeface="Calibri"/>
                        </a:rPr>
                        <a:t>9,8</a:t>
                      </a:r>
                      <a:endParaRPr lang="pt-BR" sz="2800" b="0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1273"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2800" b="0" i="0" u="none" strike="noStrike" noProof="0" smtClean="0">
                          <a:solidFill>
                            <a:srgbClr val="000000"/>
                          </a:solidFill>
                          <a:latin typeface="Calibri"/>
                        </a:rPr>
                        <a:t>Produtos Quimicos e Metalurgia (7 + 3)</a:t>
                      </a:r>
                      <a:endParaRPr lang="pt-BR" sz="2800" b="0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P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b="0" i="0" u="none" strike="noStrike" noProof="0" smtClean="0">
                          <a:solidFill>
                            <a:srgbClr val="000000"/>
                          </a:solidFill>
                          <a:latin typeface="Calibri"/>
                        </a:rPr>
                        <a:t>31,0</a:t>
                      </a:r>
                      <a:endParaRPr lang="pt-BR" sz="2800" b="0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b="0" i="0" u="none" strike="noStrike" noProof="0" smtClean="0">
                          <a:solidFill>
                            <a:srgbClr val="000000"/>
                          </a:solidFill>
                          <a:latin typeface="Calibri"/>
                        </a:rPr>
                        <a:t>3,1</a:t>
                      </a:r>
                      <a:endParaRPr lang="pt-BR" sz="2800" b="0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1273"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2800" b="0" i="0" u="none" strike="noStrike" noProof="0" smtClean="0">
                          <a:solidFill>
                            <a:srgbClr val="000000"/>
                          </a:solidFill>
                          <a:latin typeface="Calibri"/>
                        </a:rPr>
                        <a:t>Calcados (2)</a:t>
                      </a:r>
                      <a:endParaRPr lang="pt-BR" sz="2800" b="0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s-PY" sz="2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b="0" i="0" u="none" strike="noStrike" noProof="0" smtClean="0">
                          <a:solidFill>
                            <a:srgbClr val="000000"/>
                          </a:solidFill>
                          <a:latin typeface="Calibri"/>
                        </a:rPr>
                        <a:t>29,9</a:t>
                      </a:r>
                      <a:endParaRPr lang="pt-BR" sz="2800" b="0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b="0" i="0" u="none" strike="noStrike" noProof="0" smtClean="0">
                          <a:solidFill>
                            <a:srgbClr val="000000"/>
                          </a:solidFill>
                          <a:latin typeface="Calibri"/>
                        </a:rPr>
                        <a:t>2,9</a:t>
                      </a:r>
                      <a:endParaRPr lang="pt-BR" sz="2800" b="0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1273"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2800" b="0" i="0" u="none" strike="noStrike" noProof="0" smtClean="0">
                          <a:solidFill>
                            <a:srgbClr val="000000"/>
                          </a:solidFill>
                          <a:latin typeface="Calibri"/>
                        </a:rPr>
                        <a:t>Vestimentas (9)</a:t>
                      </a:r>
                      <a:endParaRPr lang="pt-BR" sz="2800" b="0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P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b="0" i="0" u="none" strike="noStrike" noProof="0" smtClean="0">
                          <a:solidFill>
                            <a:srgbClr val="000000"/>
                          </a:solidFill>
                          <a:latin typeface="Calibri"/>
                        </a:rPr>
                        <a:t>23,3</a:t>
                      </a:r>
                      <a:endParaRPr lang="pt-BR" sz="2800" b="0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b="0" i="0" u="none" strike="noStrike" noProof="0" smtClean="0">
                          <a:solidFill>
                            <a:srgbClr val="000000"/>
                          </a:solidFill>
                          <a:latin typeface="Calibri"/>
                        </a:rPr>
                        <a:t>2,3</a:t>
                      </a:r>
                      <a:endParaRPr lang="pt-BR" sz="2800" b="0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1273"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2800" b="0" i="0" u="none" strike="noStrike" noProof="0" smtClean="0">
                          <a:solidFill>
                            <a:srgbClr val="000000"/>
                          </a:solidFill>
                          <a:latin typeface="Calibri"/>
                        </a:rPr>
                        <a:t>Producao Agricola (1)</a:t>
                      </a:r>
                      <a:endParaRPr lang="pt-BR" sz="2800" b="0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P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b="0" i="0" u="none" strike="noStrike" noProof="0" smtClean="0">
                          <a:solidFill>
                            <a:srgbClr val="000000"/>
                          </a:solidFill>
                          <a:latin typeface="Calibri"/>
                        </a:rPr>
                        <a:t>20,2</a:t>
                      </a:r>
                      <a:endParaRPr lang="pt-BR" sz="2800" b="0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b="0" i="0" u="none" strike="noStrike" noProof="0" smtClean="0">
                          <a:solidFill>
                            <a:srgbClr val="000000"/>
                          </a:solidFill>
                          <a:latin typeface="Calibri"/>
                        </a:rPr>
                        <a:t>2,0</a:t>
                      </a:r>
                      <a:endParaRPr lang="pt-BR" sz="2800" b="0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1273"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2800" b="0" i="0" u="none" strike="noStrike" noProof="0" smtClean="0">
                          <a:solidFill>
                            <a:srgbClr val="000000"/>
                          </a:solidFill>
                          <a:latin typeface="Calibri"/>
                        </a:rPr>
                        <a:t>Plasticos (4)</a:t>
                      </a:r>
                      <a:endParaRPr lang="pt-BR" sz="2800" b="0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s-PY" sz="2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b="0" i="0" u="none" strike="noStrike" noProof="0" smtClean="0">
                          <a:solidFill>
                            <a:srgbClr val="000000"/>
                          </a:solidFill>
                          <a:latin typeface="Calibri"/>
                        </a:rPr>
                        <a:t>3,6</a:t>
                      </a:r>
                      <a:endParaRPr lang="pt-BR" sz="2800" b="0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b="0" i="0" u="none" strike="noStrike" noProof="0" smtClean="0">
                          <a:solidFill>
                            <a:srgbClr val="000000"/>
                          </a:solidFill>
                          <a:latin typeface="Calibri"/>
                        </a:rPr>
                        <a:t>0,4</a:t>
                      </a:r>
                      <a:endParaRPr lang="pt-BR" sz="2800" b="0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1273"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2800" b="0" i="0" u="none" strike="noStrike" noProof="0" smtClean="0">
                          <a:solidFill>
                            <a:srgbClr val="000000"/>
                          </a:solidFill>
                          <a:latin typeface="Calibri"/>
                        </a:rPr>
                        <a:t>Autopartes (1)</a:t>
                      </a:r>
                      <a:endParaRPr lang="pt-BR" sz="2800" b="0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s-PY" sz="2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b="0" i="0" u="none" strike="noStrike" noProof="0" smtClean="0">
                          <a:solidFill>
                            <a:srgbClr val="000000"/>
                          </a:solidFill>
                          <a:latin typeface="Calibri"/>
                        </a:rPr>
                        <a:t>0,2</a:t>
                      </a:r>
                      <a:endParaRPr lang="pt-BR" sz="2800" b="0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b="0" i="0" u="none" strike="noStrike" noProof="0" smtClean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  <a:endParaRPr lang="pt-BR" sz="2800" b="0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1273">
                <a:tc>
                  <a:txBody>
                    <a:bodyPr/>
                    <a:lstStyle/>
                    <a:p>
                      <a:pPr algn="l" fontAlgn="b"/>
                      <a:r>
                        <a:rPr lang="pt-BR" sz="2800" b="1" i="0" u="none" strike="noStrike" noProof="0" smtClean="0">
                          <a:solidFill>
                            <a:srgbClr val="000000"/>
                          </a:solidFill>
                          <a:latin typeface="Calibri"/>
                        </a:rPr>
                        <a:t>Total Empresas</a:t>
                      </a:r>
                      <a:r>
                        <a:rPr lang="pt-BR" sz="2800" b="1" i="0" u="none" strike="noStrike" baseline="0" noProof="0" smtClean="0">
                          <a:solidFill>
                            <a:srgbClr val="000000"/>
                          </a:solidFill>
                          <a:latin typeface="Calibri"/>
                        </a:rPr>
                        <a:t> (32)</a:t>
                      </a:r>
                      <a:endParaRPr lang="pt-BR" sz="2800" b="1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2800" b="1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b="1" i="0" u="none" strike="noStrike" noProof="0" smtClean="0">
                          <a:solidFill>
                            <a:srgbClr val="000000"/>
                          </a:solidFill>
                          <a:latin typeface="Calibri"/>
                        </a:rPr>
                        <a:t>207,9</a:t>
                      </a:r>
                      <a:endParaRPr lang="pt-BR" sz="2800" b="1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b="1" i="0" u="none" strike="noStrike" noProof="0" smtClean="0">
                          <a:solidFill>
                            <a:srgbClr val="000000"/>
                          </a:solidFill>
                          <a:latin typeface="Calibri"/>
                        </a:rPr>
                        <a:t>20,5</a:t>
                      </a:r>
                      <a:endParaRPr lang="pt-BR" sz="2800" b="1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13567"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2800" b="0" i="0" u="none" strike="noStrike" noProof="0">
                          <a:solidFill>
                            <a:srgbClr val="000000"/>
                          </a:solidFill>
                          <a:latin typeface="Calibri"/>
                        </a:rPr>
                        <a:t>Resto de Empresas Nao Brasileiras que Exportan ao Brasil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P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b="0" i="0" u="none" strike="noStrike" noProof="0" smtClean="0">
                          <a:solidFill>
                            <a:srgbClr val="000000"/>
                          </a:solidFill>
                          <a:latin typeface="Calibri"/>
                        </a:rPr>
                        <a:t>817</a:t>
                      </a:r>
                      <a:endParaRPr lang="pt-BR" sz="2800" b="0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b="0" i="0" u="none" strike="noStrike" noProof="0" smtClean="0">
                          <a:solidFill>
                            <a:srgbClr val="000000"/>
                          </a:solidFill>
                          <a:latin typeface="Calibri"/>
                        </a:rPr>
                        <a:t>80,5</a:t>
                      </a:r>
                      <a:endParaRPr lang="pt-BR" sz="2800" b="0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1273"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2800" b="1" i="0" u="none" strike="noStrike" noProof="0">
                          <a:solidFill>
                            <a:srgbClr val="000000"/>
                          </a:solidFill>
                          <a:latin typeface="Calibri"/>
                        </a:rPr>
                        <a:t>Total Geral - Exportacoes ao Brasil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P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b="1" i="0" u="none" strike="noStrike" noProof="0" smtClean="0">
                          <a:solidFill>
                            <a:srgbClr val="000000"/>
                          </a:solidFill>
                          <a:latin typeface="Calibri"/>
                        </a:rPr>
                        <a:t>1.014,90</a:t>
                      </a:r>
                      <a:endParaRPr lang="pt-BR" sz="2800" b="1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b="1" i="0" u="none" strike="noStrike" noProof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  <a:endParaRPr lang="pt-BR" sz="2800" b="1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5" name="Picture 1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0" y="0"/>
            <a:ext cx="16257588" cy="9144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graphicFrame>
        <p:nvGraphicFramePr>
          <p:cNvPr id="44" name="Object 43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827155428"/>
              </p:ext>
            </p:extLst>
          </p:nvPr>
        </p:nvGraphicFramePr>
        <p:xfrm>
          <a:off x="2607" y="2118"/>
          <a:ext cx="2605" cy="2116"/>
        </p:xfrm>
        <a:graphic>
          <a:graphicData uri="http://schemas.openxmlformats.org/presentationml/2006/ole">
            <p:oleObj spid="_x0000_s1026" name="think-cell Slide" r:id="rId21" imgW="270" imgH="270" progId="">
              <p:embed/>
            </p:oleObj>
          </a:graphicData>
        </a:graphic>
      </p:graphicFrame>
      <p:sp>
        <p:nvSpPr>
          <p:cNvPr id="29" name="Rectangle 28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60538" cy="211667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8614" y="251520"/>
            <a:ext cx="15007004" cy="656591"/>
          </a:xfrm>
          <a:solidFill>
            <a:srgbClr val="C00000"/>
          </a:solidFill>
        </p:spPr>
        <p:txBody>
          <a:bodyPr/>
          <a:lstStyle/>
          <a:p>
            <a:r>
              <a:rPr lang="es-ES" sz="2400" b="1" dirty="0" smtClean="0">
                <a:solidFill>
                  <a:schemeClr val="bg1"/>
                </a:solidFill>
              </a:rPr>
              <a:t>ALEM DA SGP+, PARAGUAI OFERECE AS SIGUIENTES VANTAGEMS COMPETITIVAS</a:t>
            </a:r>
            <a:endParaRPr lang="es-ES" sz="2400" b="1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95946" y="7139649"/>
            <a:ext cx="12591636" cy="241732"/>
          </a:xfrm>
        </p:spPr>
        <p:txBody>
          <a:bodyPr/>
          <a:lstStyle/>
          <a:p>
            <a:r>
              <a:rPr lang="es-ES" dirty="0" err="1" smtClean="0">
                <a:solidFill>
                  <a:schemeClr val="tx1"/>
                </a:solidFill>
              </a:rPr>
              <a:t>Fonte</a:t>
            </a:r>
            <a:r>
              <a:rPr lang="es-ES" dirty="0" smtClean="0">
                <a:solidFill>
                  <a:schemeClr val="tx1"/>
                </a:solidFill>
              </a:rPr>
              <a:t>: ANDE, </a:t>
            </a:r>
            <a:r>
              <a:rPr lang="es-ES" dirty="0" err="1" smtClean="0">
                <a:solidFill>
                  <a:schemeClr val="tx1"/>
                </a:solidFill>
              </a:rPr>
              <a:t>Eurostat</a:t>
            </a:r>
            <a:r>
              <a:rPr lang="es-ES" dirty="0" smtClean="0">
                <a:solidFill>
                  <a:schemeClr val="tx1"/>
                </a:solidFill>
              </a:rPr>
              <a:t>, CIER, U.S. Bureau of Labor </a:t>
            </a:r>
            <a:r>
              <a:rPr lang="es-ES" dirty="0" err="1" smtClean="0">
                <a:solidFill>
                  <a:schemeClr val="tx1"/>
                </a:solidFill>
              </a:rPr>
              <a:t>Statistics</a:t>
            </a:r>
            <a:r>
              <a:rPr lang="es-ES" dirty="0" smtClean="0">
                <a:solidFill>
                  <a:schemeClr val="tx1"/>
                </a:solidFill>
              </a:rPr>
              <a:t>, KPMG </a:t>
            </a:r>
            <a:r>
              <a:rPr lang="es-ES" dirty="0" err="1" smtClean="0">
                <a:solidFill>
                  <a:schemeClr val="tx1"/>
                </a:solidFill>
              </a:rPr>
              <a:t>statistics</a:t>
            </a:r>
            <a:r>
              <a:rPr lang="es-ES" dirty="0" smtClean="0">
                <a:solidFill>
                  <a:schemeClr val="tx1"/>
                </a:solidFill>
              </a:rPr>
              <a:t>, </a:t>
            </a:r>
            <a:r>
              <a:rPr lang="es-ES" dirty="0" err="1" smtClean="0">
                <a:solidFill>
                  <a:schemeClr val="tx1"/>
                </a:solidFill>
              </a:rPr>
              <a:t>Oanda</a:t>
            </a:r>
            <a:r>
              <a:rPr lang="es-ES" dirty="0" smtClean="0">
                <a:solidFill>
                  <a:schemeClr val="tx1"/>
                </a:solidFill>
              </a:rPr>
              <a:t> y análisis Arthur D. Little</a:t>
            </a:r>
            <a:endParaRPr lang="es-ES" dirty="0">
              <a:solidFill>
                <a:schemeClr val="tx1"/>
              </a:solidFill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518880" y="1610792"/>
            <a:ext cx="7379428" cy="23368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/>
          <a:p>
            <a:endParaRPr lang="es-ES" dirty="0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8144834" y="1610792"/>
            <a:ext cx="7378444" cy="23368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/>
          <a:p>
            <a:endParaRPr lang="es-ES" dirty="0"/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518881" y="4760392"/>
            <a:ext cx="7383655" cy="23368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/>
          <a:p>
            <a:endParaRPr lang="es-ES" dirty="0"/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8144834" y="4760392"/>
            <a:ext cx="7378444" cy="23368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/>
          <a:p>
            <a:endParaRPr lang="es-ES" dirty="0"/>
          </a:p>
        </p:txBody>
      </p:sp>
      <p:sp>
        <p:nvSpPr>
          <p:cNvPr id="9" name="Rectangle 6"/>
          <p:cNvSpPr>
            <a:spLocks noChangeArrowheads="1"/>
          </p:cNvSpPr>
          <p:nvPr/>
        </p:nvSpPr>
        <p:spPr bwMode="auto">
          <a:xfrm>
            <a:off x="518879" y="4049192"/>
            <a:ext cx="7379428" cy="711200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17961" dir="2700000" algn="ctr" rotWithShape="0">
                    <a:schemeClr val="bg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lIns="872755" tIns="0" rIns="0" bIns="0" anchor="ctr">
            <a:noAutofit/>
          </a:bodyPr>
          <a:lstStyle/>
          <a:p>
            <a:pPr defTabSz="1154582" eaLnBrk="0"/>
            <a:r>
              <a:rPr lang="es-ES" sz="2100" b="1" dirty="0" err="1" smtClean="0"/>
              <a:t>Impostos</a:t>
            </a:r>
            <a:r>
              <a:rPr lang="es-ES" sz="2100" b="1" dirty="0" smtClean="0"/>
              <a:t> de Renda 2012                                          </a:t>
            </a:r>
            <a:endParaRPr lang="es-ES" sz="2100" b="1" dirty="0"/>
          </a:p>
        </p:txBody>
      </p:sp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8147441" y="4049192"/>
            <a:ext cx="7379428" cy="711200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17961" dir="2700000" algn="ctr" rotWithShape="0">
                    <a:schemeClr val="bg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/>
          <a:p>
            <a:pPr algn="ctr" defTabSz="1154582" eaLnBrk="0"/>
            <a:r>
              <a:rPr lang="es-ES" sz="2100" b="1" dirty="0" smtClean="0"/>
              <a:t>               Imposto </a:t>
            </a:r>
            <a:r>
              <a:rPr lang="es-ES" sz="2100" b="1" dirty="0" err="1" smtClean="0"/>
              <a:t>ao</a:t>
            </a:r>
            <a:r>
              <a:rPr lang="es-ES" sz="2100" b="1" dirty="0" smtClean="0"/>
              <a:t> Valor Agregado 2013</a:t>
            </a:r>
            <a:endParaRPr lang="es-ES" sz="2100" b="1" dirty="0"/>
          </a:p>
        </p:txBody>
      </p:sp>
      <p:sp>
        <p:nvSpPr>
          <p:cNvPr id="11" name="Rectangle 9"/>
          <p:cNvSpPr>
            <a:spLocks noChangeArrowheads="1"/>
          </p:cNvSpPr>
          <p:nvPr/>
        </p:nvSpPr>
        <p:spPr bwMode="auto">
          <a:xfrm>
            <a:off x="8147441" y="899592"/>
            <a:ext cx="7379428" cy="711200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17961" dir="2700000" algn="ctr" rotWithShape="0">
                    <a:schemeClr val="bg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/>
          <a:p>
            <a:pPr algn="ctr" defTabSz="1154582" eaLnBrk="0"/>
            <a:r>
              <a:rPr lang="pt-BR" sz="2100" b="1" dirty="0" smtClean="0"/>
              <a:t>Preço Energia 2012 – Setor Industrial </a:t>
            </a:r>
          </a:p>
          <a:p>
            <a:pPr algn="ctr" defTabSz="1154582" eaLnBrk="0"/>
            <a:r>
              <a:rPr lang="pt-BR" sz="2100" b="1" dirty="0" smtClean="0"/>
              <a:t>($/</a:t>
            </a:r>
            <a:r>
              <a:rPr lang="pt-BR" sz="2100" b="1" dirty="0" err="1" smtClean="0"/>
              <a:t>MWh</a:t>
            </a:r>
            <a:r>
              <a:rPr lang="pt-BR" sz="2100" b="1" dirty="0" smtClean="0"/>
              <a:t> sem impostos</a:t>
            </a:r>
            <a:r>
              <a:rPr lang="es-ES" sz="2100" b="1" dirty="0" smtClean="0"/>
              <a:t>)</a:t>
            </a:r>
            <a:endParaRPr lang="es-ES" sz="2100" b="1" dirty="0"/>
          </a:p>
        </p:txBody>
      </p:sp>
      <p:sp>
        <p:nvSpPr>
          <p:cNvPr id="12" name="Rectangle 10"/>
          <p:cNvSpPr>
            <a:spLocks noChangeArrowheads="1"/>
          </p:cNvSpPr>
          <p:nvPr/>
        </p:nvSpPr>
        <p:spPr bwMode="auto">
          <a:xfrm>
            <a:off x="518879" y="899592"/>
            <a:ext cx="7395061" cy="711200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17961" dir="2700000" algn="ctr" rotWithShape="0">
                    <a:schemeClr val="bg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/>
          <a:p>
            <a:pPr algn="ctr" defTabSz="1154582" eaLnBrk="0"/>
            <a:r>
              <a:rPr lang="pt-BR" sz="2100" b="1" dirty="0" smtClean="0"/>
              <a:t>Custo salarial 2012 ($/hora) sem cargas sociais</a:t>
            </a:r>
            <a:endParaRPr lang="pt-BR" sz="2100" b="1" dirty="0"/>
          </a:p>
        </p:txBody>
      </p:sp>
      <p:sp>
        <p:nvSpPr>
          <p:cNvPr id="17" name="Oval 15"/>
          <p:cNvSpPr>
            <a:spLocks noChangeArrowheads="1"/>
          </p:cNvSpPr>
          <p:nvPr/>
        </p:nvSpPr>
        <p:spPr bwMode="auto">
          <a:xfrm>
            <a:off x="6099611" y="2480743"/>
            <a:ext cx="3819491" cy="3054349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12700" algn="ctr">
                <a:solidFill>
                  <a:schemeClr val="bg1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/>
          <a:p>
            <a:endParaRPr lang="es-ES" dirty="0"/>
          </a:p>
        </p:txBody>
      </p:sp>
      <p:sp>
        <p:nvSpPr>
          <p:cNvPr id="18" name="Arc 16"/>
          <p:cNvSpPr>
            <a:spLocks/>
          </p:cNvSpPr>
          <p:nvPr/>
        </p:nvSpPr>
        <p:spPr bwMode="auto">
          <a:xfrm rot="-5400000">
            <a:off x="6211474" y="2371972"/>
            <a:ext cx="1589617" cy="1802925"/>
          </a:xfrm>
          <a:custGeom>
            <a:avLst/>
            <a:gdLst>
              <a:gd name="G0" fmla="+- 0 0 0"/>
              <a:gd name="G1" fmla="+- 21529 0 0"/>
              <a:gd name="G2" fmla="+- 21600 0 0"/>
              <a:gd name="T0" fmla="*/ 1746 w 21599"/>
              <a:gd name="T1" fmla="*/ 0 h 21529"/>
              <a:gd name="T2" fmla="*/ 21599 w 21599"/>
              <a:gd name="T3" fmla="*/ 21326 h 21529"/>
              <a:gd name="T4" fmla="*/ 0 w 21599"/>
              <a:gd name="T5" fmla="*/ 21529 h 215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599" h="21529" fill="none" extrusionOk="0">
                <a:moveTo>
                  <a:pt x="1746" y="-1"/>
                </a:moveTo>
                <a:cubicBezTo>
                  <a:pt x="12883" y="902"/>
                  <a:pt x="21494" y="10152"/>
                  <a:pt x="21599" y="21325"/>
                </a:cubicBezTo>
              </a:path>
              <a:path w="21599" h="21529" stroke="0" extrusionOk="0">
                <a:moveTo>
                  <a:pt x="1746" y="-1"/>
                </a:moveTo>
                <a:cubicBezTo>
                  <a:pt x="12883" y="902"/>
                  <a:pt x="21494" y="10152"/>
                  <a:pt x="21599" y="21325"/>
                </a:cubicBezTo>
                <a:lnTo>
                  <a:pt x="0" y="21529"/>
                </a:lnTo>
                <a:close/>
              </a:path>
            </a:pathLst>
          </a:custGeom>
          <a:noFill/>
          <a:ln w="1270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endParaRPr lang="es-ES" dirty="0"/>
          </a:p>
        </p:txBody>
      </p:sp>
      <p:sp>
        <p:nvSpPr>
          <p:cNvPr id="19" name="Arc 17"/>
          <p:cNvSpPr>
            <a:spLocks/>
          </p:cNvSpPr>
          <p:nvPr/>
        </p:nvSpPr>
        <p:spPr bwMode="auto">
          <a:xfrm rot="5400000" flipH="1">
            <a:off x="8245626" y="3863735"/>
            <a:ext cx="1572684" cy="1774266"/>
          </a:xfrm>
          <a:custGeom>
            <a:avLst/>
            <a:gdLst>
              <a:gd name="G0" fmla="+- 21600 0 0"/>
              <a:gd name="G1" fmla="+- 21574 0 0"/>
              <a:gd name="G2" fmla="+- 21600 0 0"/>
              <a:gd name="T0" fmla="*/ 3 w 21600"/>
              <a:gd name="T1" fmla="*/ 21914 h 21914"/>
              <a:gd name="T2" fmla="*/ 20544 w 21600"/>
              <a:gd name="T3" fmla="*/ 0 h 21914"/>
              <a:gd name="T4" fmla="*/ 21600 w 21600"/>
              <a:gd name="T5" fmla="*/ 21574 h 219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914" fill="none" extrusionOk="0">
                <a:moveTo>
                  <a:pt x="2" y="21914"/>
                </a:moveTo>
                <a:cubicBezTo>
                  <a:pt x="0" y="21800"/>
                  <a:pt x="0" y="21687"/>
                  <a:pt x="0" y="21574"/>
                </a:cubicBezTo>
                <a:cubicBezTo>
                  <a:pt x="-1" y="10055"/>
                  <a:pt x="9038" y="562"/>
                  <a:pt x="20543" y="-1"/>
                </a:cubicBezTo>
              </a:path>
              <a:path w="21600" h="21914" stroke="0" extrusionOk="0">
                <a:moveTo>
                  <a:pt x="2" y="21914"/>
                </a:moveTo>
                <a:cubicBezTo>
                  <a:pt x="0" y="21800"/>
                  <a:pt x="0" y="21687"/>
                  <a:pt x="0" y="21574"/>
                </a:cubicBezTo>
                <a:cubicBezTo>
                  <a:pt x="-1" y="10055"/>
                  <a:pt x="9038" y="562"/>
                  <a:pt x="20543" y="-1"/>
                </a:cubicBezTo>
                <a:lnTo>
                  <a:pt x="21600" y="21574"/>
                </a:lnTo>
                <a:close/>
              </a:path>
            </a:pathLst>
          </a:custGeom>
          <a:noFill/>
          <a:ln w="1270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endParaRPr lang="es-ES" dirty="0"/>
          </a:p>
        </p:txBody>
      </p:sp>
      <p:sp>
        <p:nvSpPr>
          <p:cNvPr id="20" name="Arc 18"/>
          <p:cNvSpPr>
            <a:spLocks/>
          </p:cNvSpPr>
          <p:nvPr/>
        </p:nvSpPr>
        <p:spPr bwMode="auto">
          <a:xfrm rot="-5400000">
            <a:off x="6198692" y="3818711"/>
            <a:ext cx="1591733" cy="1836796"/>
          </a:xfrm>
          <a:custGeom>
            <a:avLst/>
            <a:gdLst>
              <a:gd name="G0" fmla="+- 21600 0 0"/>
              <a:gd name="G1" fmla="+- 21550 0 0"/>
              <a:gd name="G2" fmla="+- 21600 0 0"/>
              <a:gd name="T0" fmla="*/ 1 w 21600"/>
              <a:gd name="T1" fmla="*/ 21732 h 21732"/>
              <a:gd name="T2" fmla="*/ 20131 w 21600"/>
              <a:gd name="T3" fmla="*/ 0 h 21732"/>
              <a:gd name="T4" fmla="*/ 21600 w 21600"/>
              <a:gd name="T5" fmla="*/ 21550 h 217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732" fill="none" extrusionOk="0">
                <a:moveTo>
                  <a:pt x="0" y="21732"/>
                </a:moveTo>
                <a:cubicBezTo>
                  <a:pt x="0" y="21671"/>
                  <a:pt x="0" y="21610"/>
                  <a:pt x="0" y="21550"/>
                </a:cubicBezTo>
                <a:cubicBezTo>
                  <a:pt x="-1" y="10190"/>
                  <a:pt x="8798" y="772"/>
                  <a:pt x="20131" y="0"/>
                </a:cubicBezTo>
              </a:path>
              <a:path w="21600" h="21732" stroke="0" extrusionOk="0">
                <a:moveTo>
                  <a:pt x="0" y="21732"/>
                </a:moveTo>
                <a:cubicBezTo>
                  <a:pt x="0" y="21671"/>
                  <a:pt x="0" y="21610"/>
                  <a:pt x="0" y="21550"/>
                </a:cubicBezTo>
                <a:cubicBezTo>
                  <a:pt x="-1" y="10190"/>
                  <a:pt x="8798" y="772"/>
                  <a:pt x="20131" y="0"/>
                </a:cubicBezTo>
                <a:lnTo>
                  <a:pt x="21600" y="21550"/>
                </a:lnTo>
                <a:close/>
              </a:path>
            </a:pathLst>
          </a:custGeom>
          <a:noFill/>
          <a:ln w="1270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endParaRPr lang="es-ES" dirty="0"/>
          </a:p>
        </p:txBody>
      </p:sp>
      <p:sp>
        <p:nvSpPr>
          <p:cNvPr id="21" name="Arc 19"/>
          <p:cNvSpPr>
            <a:spLocks/>
          </p:cNvSpPr>
          <p:nvPr/>
        </p:nvSpPr>
        <p:spPr bwMode="auto">
          <a:xfrm rot="5400000" flipH="1">
            <a:off x="8244649" y="2363669"/>
            <a:ext cx="1564216" cy="1789897"/>
          </a:xfrm>
          <a:custGeom>
            <a:avLst/>
            <a:gdLst>
              <a:gd name="G0" fmla="+- 0 0 0"/>
              <a:gd name="G1" fmla="+- 21561 0 0"/>
              <a:gd name="G2" fmla="+- 21600 0 0"/>
              <a:gd name="T0" fmla="*/ 1292 w 21600"/>
              <a:gd name="T1" fmla="*/ 0 h 21581"/>
              <a:gd name="T2" fmla="*/ 21600 w 21600"/>
              <a:gd name="T3" fmla="*/ 21581 h 21581"/>
              <a:gd name="T4" fmla="*/ 0 w 21600"/>
              <a:gd name="T5" fmla="*/ 21561 h 215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581" fill="none" extrusionOk="0">
                <a:moveTo>
                  <a:pt x="1292" y="-1"/>
                </a:moveTo>
                <a:cubicBezTo>
                  <a:pt x="12699" y="683"/>
                  <a:pt x="21600" y="10133"/>
                  <a:pt x="21600" y="21561"/>
                </a:cubicBezTo>
                <a:cubicBezTo>
                  <a:pt x="21600" y="21567"/>
                  <a:pt x="21599" y="21574"/>
                  <a:pt x="21599" y="21580"/>
                </a:cubicBezTo>
              </a:path>
              <a:path w="21600" h="21581" stroke="0" extrusionOk="0">
                <a:moveTo>
                  <a:pt x="1292" y="-1"/>
                </a:moveTo>
                <a:cubicBezTo>
                  <a:pt x="12699" y="683"/>
                  <a:pt x="21600" y="10133"/>
                  <a:pt x="21600" y="21561"/>
                </a:cubicBezTo>
                <a:cubicBezTo>
                  <a:pt x="21600" y="21567"/>
                  <a:pt x="21599" y="21574"/>
                  <a:pt x="21599" y="21580"/>
                </a:cubicBezTo>
                <a:lnTo>
                  <a:pt x="0" y="21561"/>
                </a:lnTo>
                <a:close/>
              </a:path>
            </a:pathLst>
          </a:custGeom>
          <a:noFill/>
          <a:ln w="1270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endParaRPr lang="es-ES" dirty="0"/>
          </a:p>
        </p:txBody>
      </p:sp>
      <p:sp>
        <p:nvSpPr>
          <p:cNvPr id="22" name="Oval 20"/>
          <p:cNvSpPr>
            <a:spLocks noChangeArrowheads="1"/>
          </p:cNvSpPr>
          <p:nvPr/>
        </p:nvSpPr>
        <p:spPr bwMode="auto">
          <a:xfrm>
            <a:off x="6268959" y="2575992"/>
            <a:ext cx="3501634" cy="2844800"/>
          </a:xfrm>
          <a:prstGeom prst="ellipse">
            <a:avLst/>
          </a:prstGeom>
          <a:solidFill>
            <a:schemeClr val="hlink"/>
          </a:solidFill>
          <a:ln w="12700" algn="ctr">
            <a:solidFill>
              <a:schemeClr val="bg2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36368" tIns="138550" rIns="136368" bIns="138550" anchor="ctr">
            <a:noAutofit/>
          </a:bodyPr>
          <a:lstStyle/>
          <a:p>
            <a:pPr algn="ctr" defTabSz="1363851" eaLnBrk="0"/>
            <a:r>
              <a:rPr lang="pt-BR" sz="2100" b="1" dirty="0" smtClean="0">
                <a:solidFill>
                  <a:schemeClr val="tx1"/>
                </a:solidFill>
              </a:rPr>
              <a:t>Principais </a:t>
            </a:r>
            <a:r>
              <a:rPr lang="pt-BR" sz="2100" b="1" dirty="0" err="1" smtClean="0">
                <a:solidFill>
                  <a:schemeClr val="tx1"/>
                </a:solidFill>
              </a:rPr>
              <a:t>vantagems</a:t>
            </a:r>
            <a:r>
              <a:rPr lang="pt-BR" sz="2100" b="1" dirty="0" smtClean="0">
                <a:solidFill>
                  <a:schemeClr val="tx1"/>
                </a:solidFill>
              </a:rPr>
              <a:t> competitivas do Paraguai no entorno empresarial</a:t>
            </a:r>
            <a:endParaRPr lang="pt-BR" sz="2100" b="1" dirty="0">
              <a:solidFill>
                <a:schemeClr val="tx1"/>
              </a:solidFill>
            </a:endParaRPr>
          </a:p>
        </p:txBody>
      </p:sp>
      <p:sp>
        <p:nvSpPr>
          <p:cNvPr id="23" name="Content Placeholder 2"/>
          <p:cNvSpPr txBox="1">
            <a:spLocks/>
          </p:cNvSpPr>
          <p:nvPr/>
        </p:nvSpPr>
        <p:spPr>
          <a:xfrm>
            <a:off x="518880" y="1610794"/>
            <a:ext cx="7377807" cy="2336799"/>
          </a:xfrm>
          <a:prstGeom prst="rect">
            <a:avLst/>
          </a:prstGeom>
          <a:ln w="12700">
            <a:noFill/>
          </a:ln>
        </p:spPr>
        <p:txBody>
          <a:bodyPr lIns="138550" tIns="136368" rIns="138550" bIns="69275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2563" indent="-180975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7188" indent="-174625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82563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1338" indent="0" algn="l" defTabSz="914400" rtl="0" eaLnBrk="1" latinLnBrk="0" hangingPunct="1">
              <a:spcBef>
                <a:spcPts val="500"/>
              </a:spcBef>
              <a:buFontTx/>
              <a:buNone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ES" dirty="0"/>
          </a:p>
        </p:txBody>
      </p:sp>
      <p:sp>
        <p:nvSpPr>
          <p:cNvPr id="25" name="Content Placeholder 2"/>
          <p:cNvSpPr txBox="1">
            <a:spLocks/>
          </p:cNvSpPr>
          <p:nvPr/>
        </p:nvSpPr>
        <p:spPr>
          <a:xfrm>
            <a:off x="518880" y="4760394"/>
            <a:ext cx="7377807" cy="2336799"/>
          </a:xfrm>
          <a:prstGeom prst="rect">
            <a:avLst/>
          </a:prstGeom>
          <a:ln w="12700">
            <a:noFill/>
          </a:ln>
        </p:spPr>
        <p:txBody>
          <a:bodyPr lIns="138550" tIns="136368" rIns="138550" bIns="69275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2563" indent="-180975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7188" indent="-174625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82563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1338" indent="0" algn="l" defTabSz="914400" rtl="0" eaLnBrk="1" latinLnBrk="0" hangingPunct="1">
              <a:spcBef>
                <a:spcPts val="500"/>
              </a:spcBef>
              <a:buFontTx/>
              <a:buNone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ES" dirty="0"/>
          </a:p>
        </p:txBody>
      </p:sp>
      <p:graphicFrame>
        <p:nvGraphicFramePr>
          <p:cNvPr id="27" name="Object 26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85680725"/>
              </p:ext>
            </p:extLst>
          </p:nvPr>
        </p:nvGraphicFramePr>
        <p:xfrm>
          <a:off x="9708064" y="2017193"/>
          <a:ext cx="5627627" cy="1384180"/>
        </p:xfrm>
        <a:graphic>
          <a:graphicData uri="http://schemas.openxmlformats.org/presentationml/2006/ole">
            <p:oleObj spid="_x0000_s1027" name="Chart" r:id="rId22" imgW="3429059" imgH="1038165" progId="MSGraph.Chart.8">
              <p:embed followColorScheme="full"/>
            </p:oleObj>
          </a:graphicData>
        </a:graphic>
      </p:graphicFrame>
      <p:sp useBgFill="1">
        <p:nvSpPr>
          <p:cNvPr id="31" name="Rectangle 30"/>
          <p:cNvSpPr/>
          <p:nvPr>
            <p:custDataLst>
              <p:tags r:id="rId3"/>
            </p:custDataLst>
          </p:nvPr>
        </p:nvSpPr>
        <p:spPr bwMode="gray">
          <a:xfrm>
            <a:off x="14259668" y="2829993"/>
            <a:ext cx="481997" cy="24341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12700" cap="flat" cmpd="sng" algn="ctr">
                <a:solidFill>
                  <a:srgbClr val="96969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1271" tIns="0" rIns="31271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F26E2B5-9EAE-4332-B121-3CB71A4A544E}" type="datetime'''1''''''''''''''''''''''''''''''''2''4'''''''''''">
              <a:rPr lang="en-US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24</a:t>
            </a:fld>
            <a:endParaRPr lang="es-ES" dirty="0" err="1" smtClean="0">
              <a:solidFill>
                <a:schemeClr val="bg1"/>
              </a:solidFill>
              <a:latin typeface="Arial"/>
              <a:sym typeface="Arial"/>
            </a:endParaRPr>
          </a:p>
        </p:txBody>
      </p:sp>
      <p:sp useBgFill="1">
        <p:nvSpPr>
          <p:cNvPr id="30" name="Rectangle 29"/>
          <p:cNvSpPr/>
          <p:nvPr>
            <p:custDataLst>
              <p:tags r:id="rId4"/>
            </p:custDataLst>
          </p:nvPr>
        </p:nvSpPr>
        <p:spPr bwMode="gray">
          <a:xfrm>
            <a:off x="12946555" y="2601393"/>
            <a:ext cx="481997" cy="24341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12700" cap="flat" cmpd="sng" algn="ctr">
                <a:solidFill>
                  <a:srgbClr val="96969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1271" tIns="0" rIns="31271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3389CC6-C6CF-4D3F-AF24-CBFD7E717D70}" type="datetime'''''''''''''2''''''''1''''''''''''''''''6'''''''''">
              <a:rPr lang="en-US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16</a:t>
            </a:fld>
            <a:endParaRPr lang="es-ES" dirty="0" err="1" smtClean="0">
              <a:solidFill>
                <a:schemeClr val="bg1"/>
              </a:solidFill>
              <a:latin typeface="Arial"/>
              <a:sym typeface="Arial"/>
            </a:endParaRPr>
          </a:p>
        </p:txBody>
      </p:sp>
      <p:sp useBgFill="1">
        <p:nvSpPr>
          <p:cNvPr id="28" name="Rectangle 27"/>
          <p:cNvSpPr/>
          <p:nvPr>
            <p:custDataLst>
              <p:tags r:id="rId5"/>
            </p:custDataLst>
          </p:nvPr>
        </p:nvSpPr>
        <p:spPr bwMode="gray">
          <a:xfrm>
            <a:off x="11701182" y="3001444"/>
            <a:ext cx="343911" cy="24341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12700" cap="flat" cmpd="sng" algn="ctr">
                <a:solidFill>
                  <a:srgbClr val="96969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1271" tIns="0" rIns="31271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3D9C2D4-7628-4DC0-ADFC-6C53099755D9}" type="datetime'''''''''''''''''''''5''''''''''''''''''7'''''">
              <a:rPr lang="en-US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7</a:t>
            </a:fld>
            <a:endParaRPr lang="es-ES" dirty="0" err="1" smtClean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77" name="Rectangle 76"/>
          <p:cNvSpPr/>
          <p:nvPr>
            <p:custDataLst>
              <p:tags r:id="rId6"/>
            </p:custDataLst>
          </p:nvPr>
        </p:nvSpPr>
        <p:spPr bwMode="gray">
          <a:xfrm>
            <a:off x="10388069" y="3001444"/>
            <a:ext cx="343911" cy="24341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12700" cap="flat" cmpd="sng" algn="ctr">
                <a:solidFill>
                  <a:srgbClr val="96969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1271" tIns="0" rIns="31271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9770A73-C361-49E1-A5C5-A10BC867CA26}" type="datetime'''5''''''''''''''''''''''''7'''''''''''''">
              <a:rPr lang="en-US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7</a:t>
            </a:fld>
            <a:endParaRPr lang="es-ES" dirty="0" err="1" smtClean="0">
              <a:solidFill>
                <a:schemeClr val="bg1"/>
              </a:solidFill>
              <a:latin typeface="Arial"/>
              <a:sym typeface="Arial"/>
            </a:endParaRPr>
          </a:p>
        </p:txBody>
      </p:sp>
      <p:graphicFrame>
        <p:nvGraphicFramePr>
          <p:cNvPr id="55" name="Object 54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2841957579"/>
              </p:ext>
            </p:extLst>
          </p:nvPr>
        </p:nvGraphicFramePr>
        <p:xfrm>
          <a:off x="641334" y="2067993"/>
          <a:ext cx="5596165" cy="1333500"/>
        </p:xfrm>
        <a:graphic>
          <a:graphicData uri="http://schemas.openxmlformats.org/presentationml/2006/ole">
            <p:oleObj spid="_x0000_s1028" name="Chart" r:id="rId23" imgW="3409893" imgH="1000104" progId="MSGraph.Chart.8">
              <p:embed followColorScheme="full"/>
            </p:oleObj>
          </a:graphicData>
        </a:graphic>
      </p:graphicFrame>
      <p:sp>
        <p:nvSpPr>
          <p:cNvPr id="78" name="Rectangle 77"/>
          <p:cNvSpPr/>
          <p:nvPr>
            <p:custDataLst>
              <p:tags r:id="rId7"/>
            </p:custDataLst>
          </p:nvPr>
        </p:nvSpPr>
        <p:spPr bwMode="gray">
          <a:xfrm>
            <a:off x="2483339" y="2842693"/>
            <a:ext cx="552341" cy="24341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12700" cap="flat" cmpd="sng" algn="ctr">
                <a:solidFill>
                  <a:srgbClr val="96969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1271" tIns="0" rIns="31271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C8C7BB4-23BB-4CF6-832B-76D3C782A3FB}" type="datetime'''12'''''''''''',''''''''''''''9'''''''''''''''''''">
              <a:rPr lang="en-US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2,9</a:t>
            </a:fld>
            <a:endParaRPr lang="es-ES" baseline="30000" dirty="0" err="1" smtClean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57" name="Rectangle 56"/>
          <p:cNvSpPr/>
          <p:nvPr>
            <p:custDataLst>
              <p:tags r:id="rId8"/>
            </p:custDataLst>
          </p:nvPr>
        </p:nvSpPr>
        <p:spPr bwMode="gray">
          <a:xfrm>
            <a:off x="1240571" y="3052244"/>
            <a:ext cx="414257" cy="24341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12700" cap="flat" cmpd="sng" algn="ctr">
                <a:solidFill>
                  <a:srgbClr val="96969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1271" tIns="0" rIns="31271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ABBFD8E-DB8C-48F5-ADC5-AC8059F34439}" type="datetime'''''''''''''4'''''''''''''''',2'''''''''''''''''''''''''''''">
              <a:rPr lang="en-US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,2</a:t>
            </a:fld>
            <a:endParaRPr lang="es-ES" dirty="0" err="1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5" name="Rectangle 14"/>
          <p:cNvSpPr/>
          <p:nvPr>
            <p:custDataLst>
              <p:tags r:id="rId9"/>
            </p:custDataLst>
          </p:nvPr>
        </p:nvSpPr>
        <p:spPr bwMode="gray">
          <a:xfrm>
            <a:off x="5109564" y="2626793"/>
            <a:ext cx="552341" cy="24341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12700" cap="flat" cmpd="sng" algn="ctr">
                <a:solidFill>
                  <a:srgbClr val="96969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1271" tIns="0" rIns="31271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94FB9FB-A396-46F8-B322-678058E62825}" type="datetime'''''''''''''''''''''2''''''''1'''''',9'''''''''''">
              <a:rPr lang="en-US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1,9</a:t>
            </a:fld>
            <a:endParaRPr lang="es-ES" dirty="0" err="1" smtClean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79" name="Rectangle 78"/>
          <p:cNvSpPr/>
          <p:nvPr>
            <p:custDataLst>
              <p:tags r:id="rId10"/>
            </p:custDataLst>
          </p:nvPr>
        </p:nvSpPr>
        <p:spPr bwMode="gray">
          <a:xfrm>
            <a:off x="3866797" y="3007793"/>
            <a:ext cx="414257" cy="24341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12700" cap="flat" cmpd="sng" algn="ctr">
                <a:solidFill>
                  <a:srgbClr val="96969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1271" tIns="0" rIns="31271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D607EFB-A51F-4EEA-BCE0-130144547901}" type="datetime'6'''''''''''''''''''''''''''''''''''''''''''''''''',''0'''''''">
              <a:rPr lang="en-US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,0</a:t>
            </a:fld>
            <a:endParaRPr lang="es-ES" dirty="0" err="1" smtClean="0">
              <a:solidFill>
                <a:schemeClr val="bg1"/>
              </a:solidFill>
              <a:latin typeface="Arial"/>
              <a:sym typeface="Arial"/>
            </a:endParaRPr>
          </a:p>
        </p:txBody>
      </p:sp>
      <p:graphicFrame>
        <p:nvGraphicFramePr>
          <p:cNvPr id="62" name="Object 61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2155176385"/>
              </p:ext>
            </p:extLst>
          </p:nvPr>
        </p:nvGraphicFramePr>
        <p:xfrm>
          <a:off x="641332" y="5115993"/>
          <a:ext cx="5596165" cy="1359020"/>
        </p:xfrm>
        <a:graphic>
          <a:graphicData uri="http://schemas.openxmlformats.org/presentationml/2006/ole">
            <p:oleObj spid="_x0000_s1029" name="Chart" r:id="rId24" imgW="3409893" imgH="1019269" progId="MSGraph.Chart.8">
              <p:embed followColorScheme="full"/>
            </p:oleObj>
          </a:graphicData>
        </a:graphic>
      </p:graphicFrame>
      <p:sp>
        <p:nvSpPr>
          <p:cNvPr id="56" name="Rectangle 55"/>
          <p:cNvSpPr/>
          <p:nvPr>
            <p:custDataLst>
              <p:tags r:id="rId11"/>
            </p:custDataLst>
          </p:nvPr>
        </p:nvSpPr>
        <p:spPr bwMode="gray">
          <a:xfrm>
            <a:off x="5000139" y="5795444"/>
            <a:ext cx="773799" cy="24341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12700" cap="flat" cmpd="sng" algn="ctr">
                <a:solidFill>
                  <a:srgbClr val="96969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1271" tIns="0" rIns="31271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C26EC81-A27C-477A-97EF-1E17EACA2445}" type="datetime'''2''''''''''''''6'',''''3''''''%'''''''''''''''''''''''">
              <a:rPr lang="en-US">
                <a:solidFill>
                  <a:schemeClr val="bg1"/>
                </a:solidFill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6,3%</a:t>
            </a:fld>
            <a:endParaRPr lang="es-ES" dirty="0" err="1" smtClean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88" name="Rectangle 87"/>
          <p:cNvSpPr/>
          <p:nvPr>
            <p:custDataLst>
              <p:tags r:id="rId12"/>
            </p:custDataLst>
          </p:nvPr>
        </p:nvSpPr>
        <p:spPr bwMode="gray">
          <a:xfrm>
            <a:off x="3687026" y="5674793"/>
            <a:ext cx="773799" cy="24341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12700" cap="flat" cmpd="sng" algn="ctr">
                <a:solidFill>
                  <a:srgbClr val="96969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1271" tIns="0" rIns="31271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F4A8799-E968-412A-B7E3-931BD1E74C40}" type="datetime'''''''''''''''''''''''''''''3''''''4,''''''''''0''''''%'">
              <a:rPr lang="en-US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4,0%</a:t>
            </a:fld>
            <a:endParaRPr lang="es-ES" dirty="0" err="1" smtClean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89" name="Rectangle 88"/>
          <p:cNvSpPr/>
          <p:nvPr>
            <p:custDataLst>
              <p:tags r:id="rId13"/>
            </p:custDataLst>
          </p:nvPr>
        </p:nvSpPr>
        <p:spPr bwMode="gray">
          <a:xfrm>
            <a:off x="2373913" y="5662093"/>
            <a:ext cx="773799" cy="24341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12700" cap="flat" cmpd="sng" algn="ctr">
                <a:solidFill>
                  <a:srgbClr val="96969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1271" tIns="0" rIns="31271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C560E2D-FB11-46A0-AC6C-ADB45455765B}" type="datetime'''''''''''''''''''''''3''''5'''''',''''''''''''''''0%'''''">
              <a:rPr lang="en-US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5,0%</a:t>
            </a:fld>
            <a:endParaRPr lang="es-ES" dirty="0" err="1" smtClean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64" name="Rectangle 63"/>
          <p:cNvSpPr/>
          <p:nvPr>
            <p:custDataLst>
              <p:tags r:id="rId14"/>
            </p:custDataLst>
          </p:nvPr>
        </p:nvSpPr>
        <p:spPr bwMode="gray">
          <a:xfrm>
            <a:off x="1060800" y="6049444"/>
            <a:ext cx="773799" cy="24341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12700" cap="flat" cmpd="sng" algn="ctr">
                <a:solidFill>
                  <a:srgbClr val="96969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1271" tIns="0" rIns="31271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0985C0E-7796-466A-A9BB-69DB8E369F1F}" type="datetime'''''''''''''''''''10,''0%'''''''''''">
              <a:rPr lang="es-ES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,0%</a:t>
            </a:fld>
            <a:endParaRPr lang="es-ES" dirty="0" err="1" smtClean="0">
              <a:solidFill>
                <a:schemeClr val="bg1"/>
              </a:solidFill>
              <a:sym typeface="+mn-lt"/>
            </a:endParaRPr>
          </a:p>
        </p:txBody>
      </p:sp>
      <p:graphicFrame>
        <p:nvGraphicFramePr>
          <p:cNvPr id="69" name="Object 68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971825114"/>
              </p:ext>
            </p:extLst>
          </p:nvPr>
        </p:nvGraphicFramePr>
        <p:xfrm>
          <a:off x="9708065" y="5115993"/>
          <a:ext cx="5627723" cy="1359025"/>
        </p:xfrm>
        <a:graphic>
          <a:graphicData uri="http://schemas.openxmlformats.org/presentationml/2006/ole">
            <p:oleObj spid="_x0000_s1030" name="Chart" r:id="rId25" imgW="3429059" imgH="1019269" progId="MSGraph.Chart.8">
              <p:embed followColorScheme="full"/>
            </p:oleObj>
          </a:graphicData>
        </a:graphic>
      </p:graphicFrame>
      <p:sp>
        <p:nvSpPr>
          <p:cNvPr id="120" name="Rectangle 119"/>
          <p:cNvSpPr/>
          <p:nvPr>
            <p:custDataLst>
              <p:tags r:id="rId15"/>
            </p:custDataLst>
          </p:nvPr>
        </p:nvSpPr>
        <p:spPr bwMode="gray">
          <a:xfrm>
            <a:off x="14113767" y="5687493"/>
            <a:ext cx="773799" cy="24341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12700" cap="flat" cmpd="sng" algn="ctr">
                <a:solidFill>
                  <a:srgbClr val="96969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1271" tIns="0" rIns="31271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B006CB6-5AB5-49FF-95F2-81642788F8B8}" type="datetime'''''2''''''''''1'''''''''''''',4''''%'''''''''''">
              <a:rPr lang="en-US">
                <a:solidFill>
                  <a:schemeClr val="bg1"/>
                </a:solidFill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1,4%</a:t>
            </a:fld>
            <a:endParaRPr lang="es-ES" dirty="0" err="1" smtClean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82" name="Rectangle 81"/>
          <p:cNvSpPr/>
          <p:nvPr>
            <p:custDataLst>
              <p:tags r:id="rId16"/>
            </p:custDataLst>
          </p:nvPr>
        </p:nvSpPr>
        <p:spPr bwMode="gray">
          <a:xfrm>
            <a:off x="12800654" y="5706544"/>
            <a:ext cx="773799" cy="24341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12700" cap="flat" cmpd="sng" algn="ctr">
                <a:solidFill>
                  <a:srgbClr val="96969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1271" tIns="0" rIns="31271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C827CB1-F433-4CE4-98BA-A30BFAB204C0}" type="datetime'''''''''''''''2''0'''''''''''''''''''',''''''''''5%'''''''">
              <a:rPr lang="en-US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,5%</a:t>
            </a:fld>
            <a:endParaRPr lang="es-ES" dirty="0" err="1" smtClean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83" name="Rectangle 82"/>
          <p:cNvSpPr/>
          <p:nvPr>
            <p:custDataLst>
              <p:tags r:id="rId17"/>
            </p:custDataLst>
          </p:nvPr>
        </p:nvSpPr>
        <p:spPr bwMode="gray">
          <a:xfrm>
            <a:off x="11487541" y="5693843"/>
            <a:ext cx="773799" cy="24341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12700" cap="flat" cmpd="sng" algn="ctr">
                <a:solidFill>
                  <a:srgbClr val="96969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1271" tIns="0" rIns="31271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14B370E-86E9-4347-8BC1-C7A5A7B5E099}" type="datetime'''''''2''''1'''''''',''''''''''''''''''''0''%'''''''''">
              <a:rPr lang="en-US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1,0%</a:t>
            </a:fld>
            <a:endParaRPr lang="es-ES" dirty="0" err="1" smtClean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71" name="Rectangle 70"/>
          <p:cNvSpPr/>
          <p:nvPr>
            <p:custDataLst>
              <p:tags r:id="rId18"/>
            </p:custDataLst>
          </p:nvPr>
        </p:nvSpPr>
        <p:spPr bwMode="gray">
          <a:xfrm>
            <a:off x="10174429" y="5966893"/>
            <a:ext cx="773799" cy="24341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12700" cap="flat" cmpd="sng" algn="ctr">
                <a:solidFill>
                  <a:srgbClr val="96969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1271" tIns="0" rIns="31271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17684F4-3C31-4FDB-B963-A96B32E7233F}" type="datetime'10'''''''''''''''''''',''''0''''''''''''''''''''%'''''''''''">
              <a:rPr lang="en-US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,0%</a:t>
            </a:fld>
            <a:endParaRPr lang="es-ES" dirty="0" err="1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5072042" y="1727380"/>
            <a:ext cx="667086" cy="31326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9696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54547" rIns="0" bIns="5454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" sz="15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81%</a:t>
            </a:r>
          </a:p>
        </p:txBody>
      </p:sp>
      <p:sp>
        <p:nvSpPr>
          <p:cNvPr id="84" name="Rounded Rectangle 83"/>
          <p:cNvSpPr/>
          <p:nvPr/>
        </p:nvSpPr>
        <p:spPr>
          <a:xfrm>
            <a:off x="3749005" y="1727380"/>
            <a:ext cx="667086" cy="31326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9696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54547" rIns="0" bIns="5454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" sz="15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29%</a:t>
            </a:r>
          </a:p>
        </p:txBody>
      </p:sp>
      <p:sp>
        <p:nvSpPr>
          <p:cNvPr id="85" name="Rounded Rectangle 84"/>
          <p:cNvSpPr/>
          <p:nvPr/>
        </p:nvSpPr>
        <p:spPr>
          <a:xfrm>
            <a:off x="2425966" y="1727380"/>
            <a:ext cx="667086" cy="31326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9696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54547" rIns="0" bIns="5454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" sz="15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68%</a:t>
            </a:r>
          </a:p>
        </p:txBody>
      </p:sp>
      <p:sp>
        <p:nvSpPr>
          <p:cNvPr id="86" name="Rounded Rectangle 85"/>
          <p:cNvSpPr/>
          <p:nvPr/>
        </p:nvSpPr>
        <p:spPr>
          <a:xfrm>
            <a:off x="12783990" y="7120039"/>
            <a:ext cx="501195" cy="1768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9696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54547" rIns="0" bIns="5454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" sz="15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%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13205606" y="7044309"/>
            <a:ext cx="3304027" cy="354577"/>
          </a:xfrm>
          <a:prstGeom prst="rect">
            <a:avLst/>
          </a:prstGeom>
          <a:ln w="12700">
            <a:noFill/>
          </a:ln>
        </p:spPr>
        <p:txBody>
          <a:bodyPr wrap="square" lIns="138550" tIns="69275" rIns="138550" bIns="69275" rtlCol="0">
            <a:spAutoFit/>
          </a:bodyPr>
          <a:lstStyle/>
          <a:p>
            <a:r>
              <a:rPr lang="es-ES" sz="15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iferencia de Paraguay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5677260" y="3260179"/>
            <a:ext cx="594257" cy="354577"/>
          </a:xfrm>
          <a:prstGeom prst="rect">
            <a:avLst/>
          </a:prstGeom>
          <a:ln w="12700">
            <a:noFill/>
          </a:ln>
        </p:spPr>
        <p:txBody>
          <a:bodyPr wrap="square" lIns="138550" tIns="69275" rIns="138550" bIns="69275" rtlCol="0">
            <a:spAutoFit/>
          </a:bodyPr>
          <a:lstStyle/>
          <a:p>
            <a:r>
              <a:rPr lang="es-ES" sz="1500" b="1" dirty="0" smtClean="0">
                <a:latin typeface="Arial" pitchFamily="34" charset="0"/>
                <a:cs typeface="Arial" pitchFamily="34" charset="0"/>
              </a:rPr>
              <a:t>(2)</a:t>
            </a:r>
          </a:p>
        </p:txBody>
      </p:sp>
      <p:sp>
        <p:nvSpPr>
          <p:cNvPr id="107" name="Rounded Rectangle 106"/>
          <p:cNvSpPr/>
          <p:nvPr/>
        </p:nvSpPr>
        <p:spPr>
          <a:xfrm>
            <a:off x="14149878" y="1721244"/>
            <a:ext cx="667086" cy="31326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9696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54547" rIns="0" bIns="5454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" sz="15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54%</a:t>
            </a:r>
          </a:p>
        </p:txBody>
      </p:sp>
      <p:sp>
        <p:nvSpPr>
          <p:cNvPr id="108" name="Rounded Rectangle 107"/>
          <p:cNvSpPr/>
          <p:nvPr/>
        </p:nvSpPr>
        <p:spPr>
          <a:xfrm>
            <a:off x="12835672" y="1721244"/>
            <a:ext cx="667086" cy="31326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9696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54547" rIns="0" bIns="5454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" sz="15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74%</a:t>
            </a:r>
          </a:p>
        </p:txBody>
      </p:sp>
      <p:sp>
        <p:nvSpPr>
          <p:cNvPr id="109" name="Rounded Rectangle 108"/>
          <p:cNvSpPr/>
          <p:nvPr/>
        </p:nvSpPr>
        <p:spPr>
          <a:xfrm>
            <a:off x="11521465" y="1721244"/>
            <a:ext cx="667086" cy="31326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9696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54547" rIns="0" bIns="5454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" sz="15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es-ES" sz="15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0%</a:t>
            </a:r>
          </a:p>
        </p:txBody>
      </p:sp>
      <p:sp>
        <p:nvSpPr>
          <p:cNvPr id="116" name="Rounded Rectangle 115"/>
          <p:cNvSpPr/>
          <p:nvPr/>
        </p:nvSpPr>
        <p:spPr>
          <a:xfrm>
            <a:off x="5072042" y="4848928"/>
            <a:ext cx="667086" cy="31326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9696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54547" rIns="0" bIns="5454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" sz="15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62%</a:t>
            </a:r>
          </a:p>
        </p:txBody>
      </p:sp>
      <p:sp>
        <p:nvSpPr>
          <p:cNvPr id="117" name="Rounded Rectangle 116"/>
          <p:cNvSpPr/>
          <p:nvPr/>
        </p:nvSpPr>
        <p:spPr>
          <a:xfrm>
            <a:off x="3749005" y="4848928"/>
            <a:ext cx="667086" cy="31326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9696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54547" rIns="0" bIns="5454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" sz="15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71 %</a:t>
            </a:r>
          </a:p>
        </p:txBody>
      </p:sp>
      <p:sp>
        <p:nvSpPr>
          <p:cNvPr id="118" name="Rounded Rectangle 117"/>
          <p:cNvSpPr/>
          <p:nvPr/>
        </p:nvSpPr>
        <p:spPr>
          <a:xfrm>
            <a:off x="2425966" y="4848928"/>
            <a:ext cx="667086" cy="31326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9696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54547" rIns="0" bIns="5454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" sz="15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71%</a:t>
            </a:r>
          </a:p>
        </p:txBody>
      </p:sp>
      <p:sp>
        <p:nvSpPr>
          <p:cNvPr id="122" name="Rounded Rectangle 121"/>
          <p:cNvSpPr/>
          <p:nvPr/>
        </p:nvSpPr>
        <p:spPr>
          <a:xfrm>
            <a:off x="14149878" y="4848928"/>
            <a:ext cx="667086" cy="31326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9696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54547" rIns="0" bIns="5454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" sz="15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53%</a:t>
            </a:r>
          </a:p>
        </p:txBody>
      </p:sp>
      <p:sp>
        <p:nvSpPr>
          <p:cNvPr id="123" name="Rounded Rectangle 122"/>
          <p:cNvSpPr/>
          <p:nvPr/>
        </p:nvSpPr>
        <p:spPr>
          <a:xfrm>
            <a:off x="12835672" y="4848928"/>
            <a:ext cx="667086" cy="31326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9696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54547" rIns="0" bIns="5454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" sz="15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51%</a:t>
            </a:r>
          </a:p>
        </p:txBody>
      </p:sp>
      <p:sp>
        <p:nvSpPr>
          <p:cNvPr id="124" name="Rounded Rectangle 123"/>
          <p:cNvSpPr/>
          <p:nvPr/>
        </p:nvSpPr>
        <p:spPr>
          <a:xfrm>
            <a:off x="11521465" y="4848928"/>
            <a:ext cx="667086" cy="31326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9696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54547" rIns="0" bIns="5454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" sz="15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52%</a:t>
            </a:r>
          </a:p>
        </p:txBody>
      </p:sp>
      <p:pic>
        <p:nvPicPr>
          <p:cNvPr id="133" name="Picture 5" descr="Paraguay Vorderseite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5881" y="6562688"/>
            <a:ext cx="757713" cy="408000"/>
          </a:xfrm>
          <a:prstGeom prst="rect">
            <a:avLst/>
          </a:prstGeom>
          <a:noFill/>
          <a:ln w="12700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34" name="Picture 5" descr="EU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8" t="4471" r="2879" b="3856"/>
          <a:stretch>
            <a:fillRect/>
          </a:stretch>
        </p:blipFill>
        <p:spPr bwMode="auto">
          <a:xfrm>
            <a:off x="14090318" y="6578397"/>
            <a:ext cx="820698" cy="408000"/>
          </a:xfrm>
          <a:prstGeom prst="rect">
            <a:avLst/>
          </a:prstGeom>
          <a:noFill/>
          <a:ln w="12700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5" name="Picture 5" descr="Brasilien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96422" y="6563357"/>
            <a:ext cx="721625" cy="408000"/>
          </a:xfrm>
          <a:prstGeom prst="rect">
            <a:avLst/>
          </a:prstGeom>
          <a:noFill/>
          <a:ln w="12700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36" name="Picture 6" descr="Argentinien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85867" y="6562688"/>
            <a:ext cx="738281" cy="408000"/>
          </a:xfrm>
          <a:prstGeom prst="rect">
            <a:avLst/>
          </a:prstGeom>
          <a:noFill/>
          <a:ln w="12700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80" name="TextBox 79"/>
          <p:cNvSpPr txBox="1"/>
          <p:nvPr/>
        </p:nvSpPr>
        <p:spPr>
          <a:xfrm>
            <a:off x="10776709" y="3261195"/>
            <a:ext cx="594257" cy="354577"/>
          </a:xfrm>
          <a:prstGeom prst="rect">
            <a:avLst/>
          </a:prstGeom>
          <a:ln w="12700">
            <a:noFill/>
          </a:ln>
        </p:spPr>
        <p:txBody>
          <a:bodyPr wrap="square" lIns="138550" tIns="69275" rIns="138550" bIns="69275" rtlCol="0">
            <a:spAutoFit/>
          </a:bodyPr>
          <a:lstStyle/>
          <a:p>
            <a:r>
              <a:rPr lang="es-ES" sz="1500" b="1" dirty="0" smtClean="0">
                <a:latin typeface="Arial" pitchFamily="34" charset="0"/>
                <a:cs typeface="Arial" pitchFamily="34" charset="0"/>
              </a:rPr>
              <a:t>(3)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12110468" y="3261195"/>
            <a:ext cx="594257" cy="354577"/>
          </a:xfrm>
          <a:prstGeom prst="rect">
            <a:avLst/>
          </a:prstGeom>
          <a:ln w="12700">
            <a:noFill/>
          </a:ln>
        </p:spPr>
        <p:txBody>
          <a:bodyPr wrap="square" lIns="138550" tIns="69275" rIns="138550" bIns="69275" rtlCol="0">
            <a:spAutoFit/>
          </a:bodyPr>
          <a:lstStyle/>
          <a:p>
            <a:r>
              <a:rPr lang="es-ES" sz="1500" b="1" dirty="0" smtClean="0">
                <a:latin typeface="Arial" pitchFamily="34" charset="0"/>
                <a:cs typeface="Arial" pitchFamily="34" charset="0"/>
              </a:rPr>
              <a:t>(3)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13397987" y="3261195"/>
            <a:ext cx="594257" cy="354577"/>
          </a:xfrm>
          <a:prstGeom prst="rect">
            <a:avLst/>
          </a:prstGeom>
          <a:ln w="12700">
            <a:noFill/>
          </a:ln>
        </p:spPr>
        <p:txBody>
          <a:bodyPr wrap="square" lIns="138550" tIns="69275" rIns="138550" bIns="69275" rtlCol="0">
            <a:spAutoFit/>
          </a:bodyPr>
          <a:lstStyle/>
          <a:p>
            <a:r>
              <a:rPr lang="es-ES" sz="1500" b="1" dirty="0" smtClean="0">
                <a:latin typeface="Arial" pitchFamily="34" charset="0"/>
                <a:cs typeface="Arial" pitchFamily="34" charset="0"/>
              </a:rPr>
              <a:t>(3)</a:t>
            </a:r>
          </a:p>
        </p:txBody>
      </p:sp>
      <p:pic>
        <p:nvPicPr>
          <p:cNvPr id="96" name="Picture 5" descr="Paraguay Vorderseite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5881" y="3402389"/>
            <a:ext cx="757713" cy="408000"/>
          </a:xfrm>
          <a:prstGeom prst="rect">
            <a:avLst/>
          </a:prstGeom>
          <a:noFill/>
          <a:ln w="12700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97" name="Picture 5" descr="EU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8" t="4471" r="2879" b="3856"/>
          <a:stretch>
            <a:fillRect/>
          </a:stretch>
        </p:blipFill>
        <p:spPr bwMode="auto">
          <a:xfrm>
            <a:off x="14090318" y="3418099"/>
            <a:ext cx="820698" cy="408000"/>
          </a:xfrm>
          <a:prstGeom prst="rect">
            <a:avLst/>
          </a:prstGeom>
          <a:noFill/>
          <a:ln w="12700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5" descr="Brasilien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96422" y="3403059"/>
            <a:ext cx="721625" cy="408000"/>
          </a:xfrm>
          <a:prstGeom prst="rect">
            <a:avLst/>
          </a:prstGeom>
          <a:noFill/>
          <a:ln w="12700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99" name="Picture 6" descr="Argentinien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85867" y="3402389"/>
            <a:ext cx="738281" cy="408000"/>
          </a:xfrm>
          <a:prstGeom prst="rect">
            <a:avLst/>
          </a:prstGeom>
          <a:noFill/>
          <a:ln w="12700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00" name="Picture 5" descr="Paraguay Vorderseite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799" y="6562688"/>
            <a:ext cx="757713" cy="408000"/>
          </a:xfrm>
          <a:prstGeom prst="rect">
            <a:avLst/>
          </a:prstGeom>
          <a:noFill/>
          <a:ln w="12700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05" name="Picture 5" descr="EU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8" t="4471" r="2879" b="3856"/>
          <a:stretch>
            <a:fillRect/>
          </a:stretch>
        </p:blipFill>
        <p:spPr bwMode="auto">
          <a:xfrm>
            <a:off x="4995236" y="6578397"/>
            <a:ext cx="820698" cy="408000"/>
          </a:xfrm>
          <a:prstGeom prst="rect">
            <a:avLst/>
          </a:prstGeom>
          <a:noFill/>
          <a:ln w="12700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5" descr="Brasilien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1340" y="6563357"/>
            <a:ext cx="721625" cy="408000"/>
          </a:xfrm>
          <a:prstGeom prst="rect">
            <a:avLst/>
          </a:prstGeom>
          <a:noFill/>
          <a:ln w="12700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15" name="Picture 6" descr="Argentinien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0786" y="6562688"/>
            <a:ext cx="738281" cy="408000"/>
          </a:xfrm>
          <a:prstGeom prst="rect">
            <a:avLst/>
          </a:prstGeom>
          <a:noFill/>
          <a:ln w="12700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19" name="Picture 5" descr="Paraguay Vorderseite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799" y="3402389"/>
            <a:ext cx="757713" cy="408000"/>
          </a:xfrm>
          <a:prstGeom prst="rect">
            <a:avLst/>
          </a:prstGeom>
          <a:noFill/>
          <a:ln w="12700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21" name="Picture 5" descr="EU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8" t="4471" r="2879" b="3856"/>
          <a:stretch>
            <a:fillRect/>
          </a:stretch>
        </p:blipFill>
        <p:spPr bwMode="auto">
          <a:xfrm>
            <a:off x="4995236" y="3418099"/>
            <a:ext cx="820698" cy="408000"/>
          </a:xfrm>
          <a:prstGeom prst="rect">
            <a:avLst/>
          </a:prstGeom>
          <a:noFill/>
          <a:ln w="12700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5" name="Picture 5" descr="Brasilien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1340" y="3403059"/>
            <a:ext cx="721625" cy="408000"/>
          </a:xfrm>
          <a:prstGeom prst="rect">
            <a:avLst/>
          </a:prstGeom>
          <a:noFill/>
          <a:ln w="12700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26" name="Picture 6" descr="Argentinien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0786" y="3402389"/>
            <a:ext cx="738281" cy="408000"/>
          </a:xfrm>
          <a:prstGeom prst="rect">
            <a:avLst/>
          </a:prstGeom>
          <a:noFill/>
          <a:ln w="12700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91" name="TextBox 90"/>
          <p:cNvSpPr txBox="1"/>
          <p:nvPr/>
        </p:nvSpPr>
        <p:spPr>
          <a:xfrm>
            <a:off x="14798655" y="3260179"/>
            <a:ext cx="594257" cy="354577"/>
          </a:xfrm>
          <a:prstGeom prst="rect">
            <a:avLst/>
          </a:prstGeom>
          <a:ln w="12700">
            <a:noFill/>
          </a:ln>
        </p:spPr>
        <p:txBody>
          <a:bodyPr wrap="square" lIns="138550" tIns="69275" rIns="138550" bIns="69275" rtlCol="0">
            <a:spAutoFit/>
          </a:bodyPr>
          <a:lstStyle/>
          <a:p>
            <a:r>
              <a:rPr lang="es-ES" sz="1500" b="1" dirty="0" smtClean="0">
                <a:latin typeface="Arial" pitchFamily="34" charset="0"/>
                <a:cs typeface="Arial" pitchFamily="34" charset="0"/>
              </a:rPr>
              <a:t>(2)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3052914" y="3260179"/>
            <a:ext cx="594257" cy="354577"/>
          </a:xfrm>
          <a:prstGeom prst="rect">
            <a:avLst/>
          </a:prstGeom>
          <a:ln w="12700">
            <a:noFill/>
          </a:ln>
        </p:spPr>
        <p:txBody>
          <a:bodyPr wrap="square" lIns="138550" tIns="69275" rIns="138550" bIns="69275" rtlCol="0">
            <a:spAutoFit/>
          </a:bodyPr>
          <a:lstStyle/>
          <a:p>
            <a:r>
              <a:rPr lang="es-ES" sz="1500" b="1" dirty="0" smtClean="0">
                <a:latin typeface="Arial" pitchFamily="34" charset="0"/>
                <a:cs typeface="Arial" pitchFamily="34" charset="0"/>
              </a:rPr>
              <a:t>(1)</a:t>
            </a:r>
          </a:p>
        </p:txBody>
      </p:sp>
    </p:spTree>
    <p:extLst>
      <p:ext uri="{BB962C8B-B14F-4D97-AF65-F5344CB8AC3E}">
        <p14:creationId xmlns="" xmlns:p14="http://schemas.microsoft.com/office/powerpoint/2010/main" val="1995510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54348414"/>
              </p:ext>
            </p:extLst>
          </p:nvPr>
        </p:nvGraphicFramePr>
        <p:xfrm>
          <a:off x="2607" y="2118"/>
          <a:ext cx="2605" cy="2116"/>
        </p:xfrm>
        <a:graphic>
          <a:graphicData uri="http://schemas.openxmlformats.org/presentationml/2006/ole">
            <p:oleObj spid="_x0000_s2050" name="think-cell Slide" r:id="rId3" imgW="360" imgH="360" progId="">
              <p:embed/>
            </p:oleObj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2456225" y="8859093"/>
            <a:ext cx="12591636" cy="241732"/>
          </a:xfrm>
        </p:spPr>
        <p:txBody>
          <a:bodyPr/>
          <a:lstStyle/>
          <a:p>
            <a:r>
              <a:rPr lang="es-ES" dirty="0">
                <a:solidFill>
                  <a:schemeClr val="tx1"/>
                </a:solidFill>
              </a:rPr>
              <a:t>Fuente: Reglamento 1063/2012 de 18/11/2010 de la U.E</a:t>
            </a:r>
            <a:r>
              <a:rPr lang="es-ES" dirty="0" smtClean="0">
                <a:solidFill>
                  <a:schemeClr val="tx1"/>
                </a:solidFill>
              </a:rPr>
              <a:t>., International </a:t>
            </a:r>
            <a:r>
              <a:rPr lang="es-ES" dirty="0" err="1">
                <a:solidFill>
                  <a:schemeClr val="tx1"/>
                </a:solidFill>
              </a:rPr>
              <a:t>Trade</a:t>
            </a:r>
            <a:r>
              <a:rPr lang="es-ES" dirty="0">
                <a:solidFill>
                  <a:schemeClr val="tx1"/>
                </a:solidFill>
              </a:rPr>
              <a:t> Center (</a:t>
            </a:r>
            <a:r>
              <a:rPr lang="es-ES" dirty="0" err="1" smtClean="0">
                <a:solidFill>
                  <a:schemeClr val="tx1"/>
                </a:solidFill>
              </a:rPr>
              <a:t>Trademap</a:t>
            </a:r>
            <a:r>
              <a:rPr lang="es-ES" dirty="0" smtClean="0">
                <a:solidFill>
                  <a:schemeClr val="tx1"/>
                </a:solidFill>
              </a:rPr>
              <a:t>), Gobierno </a:t>
            </a:r>
            <a:r>
              <a:rPr lang="es-ES" dirty="0">
                <a:solidFill>
                  <a:schemeClr val="tx1"/>
                </a:solidFill>
              </a:rPr>
              <a:t>de Escocia, análisis </a:t>
            </a:r>
            <a:r>
              <a:rPr lang="es-ES" dirty="0" smtClean="0">
                <a:solidFill>
                  <a:schemeClr val="tx1"/>
                </a:solidFill>
              </a:rPr>
              <a:t>ADL</a:t>
            </a:r>
            <a:endParaRPr lang="es-ES" dirty="0">
              <a:solidFill>
                <a:schemeClr val="tx1"/>
              </a:solidFill>
            </a:endParaRPr>
          </a:p>
          <a:p>
            <a:endParaRPr lang="es-ES" dirty="0">
              <a:solidFill>
                <a:schemeClr val="tx1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11970" y="8244408"/>
            <a:ext cx="15193688" cy="552061"/>
          </a:xfrm>
        </p:spPr>
        <p:txBody>
          <a:bodyPr/>
          <a:lstStyle/>
          <a:p>
            <a:r>
              <a:rPr lang="es-ES" sz="1800" b="1" i="1" dirty="0" smtClean="0">
                <a:solidFill>
                  <a:schemeClr val="tx1"/>
                </a:solidFill>
              </a:rPr>
              <a:t>(1</a:t>
            </a:r>
            <a:r>
              <a:rPr lang="es-ES" sz="1800" b="1" i="1" dirty="0">
                <a:solidFill>
                  <a:schemeClr val="tx1"/>
                </a:solidFill>
              </a:rPr>
              <a:t>) </a:t>
            </a:r>
            <a:r>
              <a:rPr lang="es-ES" sz="1800" b="1" i="1" dirty="0" err="1" smtClean="0">
                <a:solidFill>
                  <a:schemeClr val="tx1"/>
                </a:solidFill>
              </a:rPr>
              <a:t>Poupaça</a:t>
            </a:r>
            <a:r>
              <a:rPr lang="es-ES" sz="1800" b="1" i="1" dirty="0" smtClean="0">
                <a:solidFill>
                  <a:schemeClr val="tx1"/>
                </a:solidFill>
              </a:rPr>
              <a:t> </a:t>
            </a:r>
            <a:r>
              <a:rPr lang="es-ES" sz="1800" b="1" i="1" dirty="0">
                <a:solidFill>
                  <a:schemeClr val="tx1"/>
                </a:solidFill>
              </a:rPr>
              <a:t>potencial </a:t>
            </a:r>
            <a:r>
              <a:rPr lang="es-ES" sz="1800" b="1" i="1" dirty="0" err="1" smtClean="0">
                <a:solidFill>
                  <a:schemeClr val="tx1"/>
                </a:solidFill>
              </a:rPr>
              <a:t>em</a:t>
            </a:r>
            <a:r>
              <a:rPr lang="es-ES" sz="1800" b="1" i="1" dirty="0" smtClean="0">
                <a:solidFill>
                  <a:schemeClr val="tx1"/>
                </a:solidFill>
              </a:rPr>
              <a:t> </a:t>
            </a:r>
            <a:r>
              <a:rPr lang="es-ES" sz="1800" b="1" i="1" dirty="0" err="1" smtClean="0">
                <a:solidFill>
                  <a:schemeClr val="tx1"/>
                </a:solidFill>
              </a:rPr>
              <a:t>aranceis</a:t>
            </a:r>
            <a:r>
              <a:rPr lang="es-ES" sz="1800" b="1" i="1" dirty="0" smtClean="0">
                <a:solidFill>
                  <a:schemeClr val="tx1"/>
                </a:solidFill>
              </a:rPr>
              <a:t> + </a:t>
            </a:r>
            <a:r>
              <a:rPr lang="es-ES" sz="1800" b="1" i="1" dirty="0" err="1" smtClean="0">
                <a:solidFill>
                  <a:schemeClr val="tx1"/>
                </a:solidFill>
              </a:rPr>
              <a:t>poupanç</a:t>
            </a:r>
            <a:r>
              <a:rPr lang="es-ES" sz="1800" b="1" i="1" dirty="0" smtClean="0">
                <a:solidFill>
                  <a:schemeClr val="tx1"/>
                </a:solidFill>
              </a:rPr>
              <a:t> </a:t>
            </a:r>
            <a:r>
              <a:rPr lang="es-ES" sz="1800" b="1" i="1" dirty="0">
                <a:solidFill>
                  <a:schemeClr val="tx1"/>
                </a:solidFill>
              </a:rPr>
              <a:t>potencial </a:t>
            </a:r>
            <a:r>
              <a:rPr lang="es-ES" sz="1800" b="1" i="1" dirty="0" err="1" smtClean="0">
                <a:solidFill>
                  <a:schemeClr val="tx1"/>
                </a:solidFill>
              </a:rPr>
              <a:t>em</a:t>
            </a:r>
            <a:r>
              <a:rPr lang="es-ES" sz="1800" b="1" i="1" dirty="0" smtClean="0">
                <a:solidFill>
                  <a:schemeClr val="tx1"/>
                </a:solidFill>
              </a:rPr>
              <a:t> </a:t>
            </a:r>
            <a:r>
              <a:rPr lang="es-ES" sz="1800" b="1" i="1" dirty="0" err="1" smtClean="0">
                <a:solidFill>
                  <a:schemeClr val="tx1"/>
                </a:solidFill>
              </a:rPr>
              <a:t>maõ</a:t>
            </a:r>
            <a:r>
              <a:rPr lang="es-ES" sz="1800" b="1" i="1" dirty="0" smtClean="0">
                <a:solidFill>
                  <a:schemeClr val="tx1"/>
                </a:solidFill>
              </a:rPr>
              <a:t> </a:t>
            </a:r>
            <a:r>
              <a:rPr lang="es-ES" sz="1800" b="1" i="1" dirty="0">
                <a:solidFill>
                  <a:schemeClr val="tx1"/>
                </a:solidFill>
              </a:rPr>
              <a:t>de </a:t>
            </a:r>
            <a:r>
              <a:rPr lang="es-ES" sz="1800" b="1" i="1" dirty="0" smtClean="0">
                <a:solidFill>
                  <a:schemeClr val="tx1"/>
                </a:solidFill>
              </a:rPr>
              <a:t>obra + ahorro </a:t>
            </a:r>
            <a:r>
              <a:rPr lang="es-ES" sz="1800" b="1" i="1" dirty="0">
                <a:solidFill>
                  <a:schemeClr val="tx1"/>
                </a:solidFill>
              </a:rPr>
              <a:t>potencial en </a:t>
            </a:r>
            <a:r>
              <a:rPr lang="es-ES" sz="1800" b="1" i="1" dirty="0" smtClean="0">
                <a:solidFill>
                  <a:schemeClr val="tx1"/>
                </a:solidFill>
              </a:rPr>
              <a:t>energía (expresado en p.p. sobre a estructura de costes (2) Reflete o nº de </a:t>
            </a:r>
            <a:r>
              <a:rPr lang="es-ES" sz="1800" b="1" i="1" dirty="0" err="1" smtClean="0">
                <a:solidFill>
                  <a:schemeClr val="tx1"/>
                </a:solidFill>
              </a:rPr>
              <a:t>empregos</a:t>
            </a:r>
            <a:r>
              <a:rPr lang="es-ES" sz="1800" b="1" i="1" dirty="0" smtClean="0">
                <a:solidFill>
                  <a:schemeClr val="tx1"/>
                </a:solidFill>
              </a:rPr>
              <a:t> </a:t>
            </a:r>
            <a:r>
              <a:rPr lang="es-ES" sz="1800" b="1" i="1" dirty="0" err="1" smtClean="0">
                <a:solidFill>
                  <a:schemeClr val="tx1"/>
                </a:solidFill>
              </a:rPr>
              <a:t>adicionais</a:t>
            </a:r>
            <a:r>
              <a:rPr lang="es-ES" sz="1800" b="1" i="1" dirty="0" smtClean="0">
                <a:solidFill>
                  <a:schemeClr val="tx1"/>
                </a:solidFill>
              </a:rPr>
              <a:t> que provoca a </a:t>
            </a:r>
            <a:r>
              <a:rPr lang="es-ES" sz="1800" b="1" i="1" dirty="0" err="1" smtClean="0">
                <a:solidFill>
                  <a:schemeClr val="tx1"/>
                </a:solidFill>
              </a:rPr>
              <a:t>generação</a:t>
            </a:r>
            <a:r>
              <a:rPr lang="es-ES" sz="1800" b="1" i="1" dirty="0" smtClean="0">
                <a:solidFill>
                  <a:schemeClr val="tx1"/>
                </a:solidFill>
              </a:rPr>
              <a:t> de </a:t>
            </a:r>
            <a:r>
              <a:rPr lang="es-ES" sz="1800" b="1" i="1" dirty="0" err="1" smtClean="0">
                <a:solidFill>
                  <a:schemeClr val="tx1"/>
                </a:solidFill>
              </a:rPr>
              <a:t>posto</a:t>
            </a:r>
            <a:r>
              <a:rPr lang="es-ES" sz="1800" b="1" i="1" dirty="0" smtClean="0">
                <a:solidFill>
                  <a:schemeClr val="tx1"/>
                </a:solidFill>
              </a:rPr>
              <a:t> de </a:t>
            </a:r>
            <a:r>
              <a:rPr lang="es-ES" sz="1800" b="1" i="1" dirty="0" err="1" smtClean="0">
                <a:solidFill>
                  <a:schemeClr val="tx1"/>
                </a:solidFill>
              </a:rPr>
              <a:t>trabalho</a:t>
            </a:r>
            <a:r>
              <a:rPr lang="es-ES" sz="1800" b="1" i="1" dirty="0" smtClean="0">
                <a:solidFill>
                  <a:schemeClr val="tx1"/>
                </a:solidFill>
              </a:rPr>
              <a:t> </a:t>
            </a:r>
            <a:r>
              <a:rPr lang="es-ES" sz="1800" b="1" i="1" dirty="0" err="1" smtClean="0">
                <a:solidFill>
                  <a:schemeClr val="tx1"/>
                </a:solidFill>
              </a:rPr>
              <a:t>em</a:t>
            </a:r>
            <a:r>
              <a:rPr lang="es-ES" sz="1800" b="1" i="1" dirty="0" smtClean="0">
                <a:solidFill>
                  <a:schemeClr val="tx1"/>
                </a:solidFill>
              </a:rPr>
              <a:t> determinada industria</a:t>
            </a:r>
            <a:endParaRPr lang="es-ES" sz="1800" b="1" i="1" dirty="0">
              <a:solidFill>
                <a:schemeClr val="tx1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504331089"/>
              </p:ext>
            </p:extLst>
          </p:nvPr>
        </p:nvGraphicFramePr>
        <p:xfrm>
          <a:off x="639961" y="1043608"/>
          <a:ext cx="14977663" cy="71790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002499"/>
                <a:gridCol w="1493791"/>
                <a:gridCol w="1493791"/>
                <a:gridCol w="1493791"/>
                <a:gridCol w="1493791"/>
              </a:tblGrid>
              <a:tr h="1044710">
                <a:tc>
                  <a:txBody>
                    <a:bodyPr/>
                    <a:lstStyle/>
                    <a:p>
                      <a:pPr algn="ctr" fontAlgn="b"/>
                      <a:r>
                        <a:rPr lang="pt-BR" sz="320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SETORES SELECIONADOS DO BRASIL</a:t>
                      </a:r>
                      <a:endParaRPr lang="pt-BR" sz="3200" b="1" i="0" u="none" strike="noStrike" noProof="0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868" marR="3868" marT="3143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i="0" u="none" strike="noStrike" noProof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Índice</a:t>
                      </a:r>
                      <a:r>
                        <a:rPr lang="pt-BR" sz="2000" b="1" i="0" u="none" strike="noStrike" baseline="0" noProof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pt-BR" sz="2000" b="1" i="0" u="none" strike="noStrike" baseline="30000" noProof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(1) </a:t>
                      </a:r>
                      <a:r>
                        <a:rPr lang="pt-BR" sz="2000" b="1" i="0" u="none" strike="noStrike" baseline="0" noProof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e poupança para o inversor (p.p.)</a:t>
                      </a:r>
                      <a:endParaRPr lang="pt-BR" sz="2000" b="1" i="0" u="none" strike="noStrike" noProof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868" marR="3868" marT="3143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xporta</a:t>
                      </a:r>
                    </a:p>
                    <a:p>
                      <a:pPr algn="ctr" fontAlgn="b"/>
                      <a:r>
                        <a:rPr lang="pt-BR" sz="2000" b="1" i="0" u="none" strike="noStrike" noProof="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çoes</a:t>
                      </a:r>
                      <a:r>
                        <a:rPr lang="pt-BR" sz="2000" b="1" i="0" u="none" strike="noStrike" baseline="0" noProof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pt-BR" sz="2000" b="1" i="0" u="none" strike="noStrike" baseline="0" noProof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e BRA a UE 2012 (M$)</a:t>
                      </a:r>
                      <a:endParaRPr lang="pt-BR" sz="2000" b="1" i="0" u="none" strike="noStrike" noProof="0" dirty="0" smtClean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868" marR="3868" marT="3143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000" b="1" i="0" u="none" strike="noStrike" baseline="0" noProof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endencia demanda importação da U.E.</a:t>
                      </a:r>
                    </a:p>
                  </a:txBody>
                  <a:tcPr marL="3868" marR="3868" marT="3143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00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Índice</a:t>
                      </a:r>
                      <a:r>
                        <a:rPr lang="pt-BR" sz="2000" b="1" i="0" u="none" strike="noStrike" baseline="0" noProof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pt-BR" sz="2000" b="1" i="0" u="none" strike="noStrike" baseline="0" noProof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multiplica</a:t>
                      </a: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000" b="1" i="0" u="none" strike="noStrike" baseline="0" noProof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or </a:t>
                      </a:r>
                      <a:r>
                        <a:rPr lang="pt-BR" sz="2000" b="1" i="0" u="none" strike="noStrike" baseline="0" noProof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e emprego </a:t>
                      </a:r>
                      <a:r>
                        <a:rPr lang="pt-BR" sz="2000" b="1" i="0" u="none" strike="noStrike" baseline="30000" noProof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(2)</a:t>
                      </a:r>
                    </a:p>
                  </a:txBody>
                  <a:tcPr marL="3868" marR="3868" marT="3143" marB="0" anchor="ctr">
                    <a:solidFill>
                      <a:srgbClr val="0070C0"/>
                    </a:solidFill>
                  </a:tcPr>
                </a:tc>
              </a:tr>
              <a:tr h="420193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009 - Sucos de frutas e</a:t>
                      </a:r>
                      <a:r>
                        <a:rPr lang="pt-BR" sz="20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outras </a:t>
                      </a:r>
                      <a:r>
                        <a:rPr lang="pt-BR" sz="20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frutas</a:t>
                      </a:r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ou de </a:t>
                      </a:r>
                      <a:r>
                        <a:rPr lang="pt-BR" sz="2000" b="0" i="0" u="none" strike="noStrike" noProof="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hortalizas</a:t>
                      </a:r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.</a:t>
                      </a:r>
                      <a:endParaRPr lang="pt-BR" sz="20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5632" marR="15632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noProof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-17%</a:t>
                      </a:r>
                      <a:endParaRPr lang="pt-BR" sz="2000" b="0" i="0" u="none" strike="noStrike" noProof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77248" marR="177248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noProof="0" smtClean="0">
                          <a:effectLst/>
                          <a:latin typeface="Arial"/>
                        </a:rPr>
                        <a:t>1.338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177248" marR="177248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noProof="0" smtClean="0">
                          <a:solidFill>
                            <a:srgbClr val="00B050"/>
                          </a:solidFill>
                          <a:effectLst/>
                          <a:latin typeface="+mn-lt"/>
                          <a:sym typeface="Wingdings"/>
                        </a:rPr>
                        <a:t> (≥5%)</a:t>
                      </a:r>
                      <a:endParaRPr lang="pt-BR" sz="2000" b="0" i="0" u="none" strike="noStrike" noProof="0">
                        <a:solidFill>
                          <a:schemeClr val="accent6"/>
                        </a:solidFill>
                        <a:effectLst/>
                        <a:latin typeface="Arial"/>
                      </a:endParaRPr>
                    </a:p>
                  </a:txBody>
                  <a:tcPr marL="59083" marR="59083" marT="1270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noProof="0" smtClean="0">
                          <a:effectLst/>
                          <a:latin typeface="Arial"/>
                        </a:rPr>
                        <a:t>3,6   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59083" marR="59083" marT="0" marB="0" anchor="ctr">
                    <a:solidFill>
                      <a:srgbClr val="EAEAEA"/>
                    </a:solidFill>
                  </a:tcPr>
                </a:tc>
              </a:tr>
              <a:tr h="420193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503 - </a:t>
                      </a:r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Gelatina; </a:t>
                      </a:r>
                      <a:r>
                        <a:rPr lang="pt-BR" sz="2000" b="0" i="0" u="none" strike="noStrike" noProof="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ictiocola</a:t>
                      </a:r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; outras colas de origem </a:t>
                      </a:r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nimal.</a:t>
                      </a:r>
                      <a:endParaRPr lang="pt-BR" sz="20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5632" marR="15632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noProof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-16%</a:t>
                      </a:r>
                      <a:endParaRPr lang="pt-BR" sz="2000" b="0" i="0" u="none" strike="noStrike" noProof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77248" marR="177248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noProof="0" smtClean="0">
                          <a:effectLst/>
                          <a:latin typeface="Arial"/>
                        </a:rPr>
                        <a:t>83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177248" marR="177248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noProof="0" smtClean="0">
                          <a:solidFill>
                            <a:srgbClr val="00B050"/>
                          </a:solidFill>
                          <a:effectLst/>
                          <a:latin typeface="+mn-lt"/>
                          <a:sym typeface="Wingdings"/>
                        </a:rPr>
                        <a:t>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59083" marR="59083" marT="1270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noProof="0" smtClean="0">
                          <a:effectLst/>
                          <a:latin typeface="Arial"/>
                        </a:rPr>
                        <a:t>2,0   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59083" marR="59083" marT="0" marB="0" anchor="ctr">
                    <a:solidFill>
                      <a:srgbClr val="EAEAEA"/>
                    </a:solidFill>
                  </a:tcPr>
                </a:tc>
              </a:tr>
              <a:tr h="420193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301 - Aceites </a:t>
                      </a:r>
                      <a:r>
                        <a:rPr lang="pt-BR" sz="2000" b="0" i="0" u="none" strike="noStrike" noProof="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esenciais</a:t>
                      </a:r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, </a:t>
                      </a:r>
                      <a:r>
                        <a:rPr lang="pt-BR" sz="2000" b="0" i="0" u="none" strike="noStrike" noProof="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incluidos</a:t>
                      </a:r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pt-BR" sz="20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os </a:t>
                      </a:r>
                      <a:r>
                        <a:rPr lang="pt-BR" sz="20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</a:t>
                      </a:r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oncretos</a:t>
                      </a:r>
                      <a:r>
                        <a:rPr lang="pt-BR" sz="20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ou absolutos.</a:t>
                      </a:r>
                      <a:endParaRPr lang="pt-BR" sz="20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5632" marR="15632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noProof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-16%</a:t>
                      </a:r>
                      <a:endParaRPr lang="pt-BR" sz="2000" b="0" i="0" u="none" strike="noStrike" noProof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77248" marR="177248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noProof="0" smtClean="0">
                          <a:effectLst/>
                          <a:latin typeface="Arial"/>
                        </a:rPr>
                        <a:t>71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177248" marR="177248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noProof="0" smtClean="0">
                          <a:solidFill>
                            <a:srgbClr val="00B050"/>
                          </a:solidFill>
                          <a:effectLst/>
                          <a:latin typeface="+mn-lt"/>
                          <a:sym typeface="Wingdings"/>
                        </a:rPr>
                        <a:t>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59083" marR="59083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noProof="0" smtClean="0">
                          <a:effectLst/>
                          <a:latin typeface="Arial"/>
                        </a:rPr>
                        <a:t>2,0   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59083" marR="59083" marT="0" marB="0" anchor="ctr">
                    <a:solidFill>
                      <a:srgbClr val="EAEAEA"/>
                    </a:solidFill>
                  </a:tcPr>
                </a:tc>
              </a:tr>
              <a:tr h="420193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402 – Os demais calçados com sola e parte superior de borracha ou </a:t>
                      </a:r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plástico.</a:t>
                      </a:r>
                      <a:endParaRPr lang="pt-BR" sz="20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5632" marR="15632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noProof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-21%</a:t>
                      </a:r>
                      <a:endParaRPr lang="pt-BR" sz="2000" b="0" i="0" u="none" strike="noStrike" noProof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77248" marR="177248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noProof="0" smtClean="0">
                          <a:effectLst/>
                          <a:latin typeface="Arial"/>
                        </a:rPr>
                        <a:t>51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177248" marR="177248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noProof="0" smtClean="0">
                          <a:solidFill>
                            <a:schemeClr val="accent6"/>
                          </a:solidFill>
                          <a:effectLst/>
                          <a:latin typeface="+mn-lt"/>
                          <a:sym typeface="Wingdings"/>
                        </a:rPr>
                        <a:t>(≤5%)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59083" marR="59083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noProof="0" smtClean="0">
                          <a:effectLst/>
                          <a:latin typeface="Arial"/>
                        </a:rPr>
                        <a:t>1,7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59083" marR="59083" marT="0" marB="0" anchor="ctr">
                    <a:solidFill>
                      <a:srgbClr val="EAEAEA"/>
                    </a:solidFill>
                  </a:tcPr>
                </a:tc>
              </a:tr>
              <a:tr h="420193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820 - Preparações </a:t>
                      </a:r>
                      <a:r>
                        <a:rPr lang="pt-BR" sz="2000" b="0" i="0" u="none" strike="noStrike" noProof="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nticongelantes</a:t>
                      </a:r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pt-BR" sz="20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e</a:t>
                      </a:r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líquidos preparados para </a:t>
                      </a:r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descongelar..</a:t>
                      </a:r>
                      <a:endParaRPr lang="pt-BR" sz="20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5632" marR="15632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noProof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-15%</a:t>
                      </a:r>
                      <a:endParaRPr lang="pt-BR" sz="2000" b="0" i="0" u="none" strike="noStrike" noProof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77248" marR="177248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noProof="0" smtClean="0">
                          <a:effectLst/>
                          <a:latin typeface="Arial"/>
                        </a:rPr>
                        <a:t>46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177248" marR="177248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noProof="0" smtClean="0">
                          <a:solidFill>
                            <a:schemeClr val="accent6"/>
                          </a:solidFill>
                          <a:effectLst/>
                          <a:latin typeface="+mn-lt"/>
                          <a:sym typeface="Wingdings"/>
                        </a:rPr>
                        <a:t>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59083" marR="59083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noProof="0" smtClean="0">
                          <a:effectLst/>
                          <a:latin typeface="Arial"/>
                        </a:rPr>
                        <a:t>2,0   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59083" marR="59083" marT="0" marB="0" anchor="ctr">
                    <a:solidFill>
                      <a:srgbClr val="EAEAEA"/>
                    </a:solidFill>
                  </a:tcPr>
                </a:tc>
              </a:tr>
              <a:tr h="420193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412 - Madeira contrachapada, madeira chapada e madeira</a:t>
                      </a:r>
                      <a:r>
                        <a:rPr lang="pt-BR" sz="20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estratificada </a:t>
                      </a:r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imilar.</a:t>
                      </a:r>
                      <a:endParaRPr lang="pt-BR" sz="20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5632" marR="15632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noProof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-13%</a:t>
                      </a:r>
                      <a:endParaRPr lang="pt-BR" sz="2000" b="0" i="0" u="none" strike="noStrike" noProof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77248" marR="177248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noProof="0" smtClean="0">
                          <a:effectLst/>
                          <a:latin typeface="Arial"/>
                        </a:rPr>
                        <a:t>265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177248" marR="177248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noProof="0" smtClean="0">
                          <a:solidFill>
                            <a:schemeClr val="accent6"/>
                          </a:solidFill>
                          <a:effectLst/>
                          <a:latin typeface="+mn-lt"/>
                          <a:sym typeface="Wingdings"/>
                        </a:rPr>
                        <a:t>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59083" marR="59083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noProof="0" smtClean="0">
                          <a:effectLst/>
                          <a:latin typeface="Arial"/>
                        </a:rPr>
                        <a:t>2,4   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59083" marR="59083" marT="0" marB="0" anchor="ctr">
                    <a:solidFill>
                      <a:srgbClr val="EAEAEA"/>
                    </a:solidFill>
                  </a:tcPr>
                </a:tc>
              </a:tr>
              <a:tr h="420193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101 - Estratos, </a:t>
                      </a:r>
                      <a:r>
                        <a:rPr lang="pt-BR" sz="2000" b="0" i="0" u="none" strike="noStrike" noProof="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esencias</a:t>
                      </a:r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e concentrados de café, </a:t>
                      </a:r>
                      <a:r>
                        <a:rPr lang="pt-BR" sz="2000" b="0" i="0" u="none" strike="noStrike" noProof="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ha</a:t>
                      </a:r>
                      <a:r>
                        <a:rPr lang="pt-BR" sz="20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 o</a:t>
                      </a:r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u </a:t>
                      </a:r>
                      <a:r>
                        <a:rPr lang="pt-BR" sz="2000" b="0" i="0" u="none" strike="noStrike" noProof="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erba</a:t>
                      </a:r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mate e </a:t>
                      </a:r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prep.</a:t>
                      </a:r>
                      <a:endParaRPr lang="pt-BR" sz="20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5632" marR="15632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noProof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-13%</a:t>
                      </a:r>
                      <a:endParaRPr lang="pt-BR" sz="2000" b="0" i="0" u="none" strike="noStrike" noProof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77248" marR="177248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noProof="0" smtClean="0">
                          <a:effectLst/>
                          <a:latin typeface="Arial"/>
                        </a:rPr>
                        <a:t>117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177248" marR="177248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noProof="0" smtClean="0">
                          <a:solidFill>
                            <a:srgbClr val="00B050"/>
                          </a:solidFill>
                          <a:effectLst/>
                          <a:latin typeface="+mn-lt"/>
                          <a:sym typeface="Wingdings"/>
                        </a:rPr>
                        <a:t>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59083" marR="59083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noProof="0" smtClean="0">
                          <a:effectLst/>
                          <a:latin typeface="Arial"/>
                        </a:rPr>
                        <a:t>3,6   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59083" marR="59083" marT="0" marB="0" anchor="ctr">
                    <a:solidFill>
                      <a:srgbClr val="EAEAEA"/>
                    </a:solidFill>
                  </a:tcPr>
                </a:tc>
              </a:tr>
              <a:tr h="420193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8704 - Veículos automóveis para transporte de </a:t>
                      </a:r>
                      <a:r>
                        <a:rPr lang="pt-BR" sz="2000" b="0" i="0" u="none" strike="noStrike" noProof="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mercancías</a:t>
                      </a:r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.</a:t>
                      </a:r>
                      <a:endParaRPr lang="pt-BR" sz="20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5632" marR="15632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noProof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-13%</a:t>
                      </a:r>
                      <a:endParaRPr lang="pt-BR" sz="2000" b="0" i="0" u="none" strike="noStrike" noProof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77248" marR="177248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noProof="0" smtClean="0">
                          <a:effectLst/>
                          <a:latin typeface="Arial"/>
                        </a:rPr>
                        <a:t>25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177248" marR="177248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noProof="0" smtClean="0">
                          <a:solidFill>
                            <a:schemeClr val="accent6"/>
                          </a:solidFill>
                          <a:effectLst/>
                          <a:latin typeface="+mn-lt"/>
                          <a:sym typeface="Wingdings"/>
                        </a:rPr>
                        <a:t>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59083" marR="59083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noProof="0" smtClean="0">
                          <a:effectLst/>
                          <a:latin typeface="Arial"/>
                        </a:rPr>
                        <a:t>2,6   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59083" marR="59083" marT="0" marB="0" anchor="ctr">
                    <a:solidFill>
                      <a:srgbClr val="EAEAEA"/>
                    </a:solidFill>
                  </a:tcPr>
                </a:tc>
              </a:tr>
              <a:tr h="420193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8482 - </a:t>
                      </a:r>
                      <a:r>
                        <a:rPr lang="pt-BR" sz="2000" b="0" i="0" u="none" strike="noStrike" noProof="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Rodamentos</a:t>
                      </a:r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de esfera</a:t>
                      </a:r>
                      <a:r>
                        <a:rPr lang="pt-BR" sz="20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e </a:t>
                      </a:r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de </a:t>
                      </a:r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gulhas.</a:t>
                      </a:r>
                      <a:endParaRPr lang="pt-BR" sz="20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5632" marR="15632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noProof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-12%</a:t>
                      </a:r>
                      <a:endParaRPr lang="pt-BR" sz="2000" b="0" i="0" u="none" strike="noStrike" noProof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77248" marR="177248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noProof="0" smtClean="0">
                          <a:effectLst/>
                          <a:latin typeface="Arial"/>
                        </a:rPr>
                        <a:t>67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177248" marR="177248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noProof="0" smtClean="0">
                          <a:solidFill>
                            <a:srgbClr val="00B050"/>
                          </a:solidFill>
                          <a:effectLst/>
                          <a:latin typeface="+mn-lt"/>
                          <a:sym typeface="Wingdings"/>
                        </a:rPr>
                        <a:t>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59083" marR="59083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noProof="0" smtClean="0">
                          <a:effectLst/>
                          <a:latin typeface="Arial"/>
                        </a:rPr>
                        <a:t>2,3   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59083" marR="59083" marT="0" marB="0" anchor="ctr">
                    <a:solidFill>
                      <a:srgbClr val="EAEAEA"/>
                    </a:solidFill>
                  </a:tcPr>
                </a:tc>
              </a:tr>
              <a:tr h="420193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403 - Calçado com sola de borracha, plástico, </a:t>
                      </a:r>
                      <a:r>
                        <a:rPr lang="pt-BR" sz="20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ouro.</a:t>
                      </a:r>
                      <a:endParaRPr lang="pt-BR" sz="20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5632" marR="15632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noProof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-11%</a:t>
                      </a:r>
                      <a:endParaRPr lang="pt-BR" sz="2000" b="0" i="0" u="none" strike="noStrike" noProof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77248" marR="177248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noProof="0" smtClean="0">
                          <a:effectLst/>
                          <a:latin typeface="Arial"/>
                        </a:rPr>
                        <a:t>61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177248" marR="177248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noProof="0" smtClean="0">
                          <a:solidFill>
                            <a:schemeClr val="accent6"/>
                          </a:solidFill>
                          <a:effectLst/>
                          <a:latin typeface="+mn-lt"/>
                          <a:sym typeface="Wingdings"/>
                        </a:rPr>
                        <a:t>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59083" marR="59083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noProof="0" smtClean="0">
                          <a:effectLst/>
                          <a:latin typeface="Arial"/>
                        </a:rPr>
                        <a:t>1,7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59083" marR="59083" marT="0" marB="0" anchor="ctr">
                    <a:solidFill>
                      <a:srgbClr val="EAEAEA"/>
                    </a:solidFill>
                  </a:tcPr>
                </a:tc>
              </a:tr>
              <a:tr h="420193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0" i="0" u="none" strike="noStrike" noProof="0" dirty="0" smtClean="0">
                          <a:effectLst/>
                          <a:latin typeface="Arial"/>
                        </a:rPr>
                        <a:t>1508 - Aceite de abacate  suas </a:t>
                      </a:r>
                      <a:r>
                        <a:rPr lang="pt-BR" sz="2000" b="0" i="0" u="none" strike="noStrike" noProof="0" dirty="0" err="1" smtClean="0">
                          <a:effectLst/>
                          <a:latin typeface="Arial"/>
                        </a:rPr>
                        <a:t>fraçoês</a:t>
                      </a:r>
                      <a:r>
                        <a:rPr lang="pt-BR" sz="2000" b="0" i="0" u="none" strike="noStrike" noProof="0" dirty="0" smtClean="0">
                          <a:effectLst/>
                          <a:latin typeface="Arial"/>
                        </a:rPr>
                        <a:t>, incluso o</a:t>
                      </a:r>
                      <a:r>
                        <a:rPr lang="pt-BR" sz="2000" b="0" i="0" u="none" strike="noStrike" baseline="0" noProof="0" dirty="0" smtClean="0">
                          <a:effectLst/>
                          <a:latin typeface="Arial"/>
                        </a:rPr>
                        <a:t> </a:t>
                      </a:r>
                      <a:r>
                        <a:rPr lang="pt-BR" sz="2000" b="0" i="0" u="none" strike="noStrike" noProof="0" dirty="0" smtClean="0">
                          <a:effectLst/>
                          <a:latin typeface="Arial"/>
                        </a:rPr>
                        <a:t>refinado.</a:t>
                      </a:r>
                      <a:endParaRPr lang="pt-BR" sz="2000" b="0" i="0" u="none" strike="noStrike" noProof="0" dirty="0">
                        <a:effectLst/>
                        <a:latin typeface="Arial"/>
                      </a:endParaRPr>
                    </a:p>
                  </a:txBody>
                  <a:tcPr marL="15632" marR="15632" marT="1270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noProof="0" smtClean="0">
                          <a:effectLst/>
                          <a:latin typeface="Arial"/>
                        </a:rPr>
                        <a:t>-11%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15632" marR="177248" marT="1270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noProof="0" smtClean="0">
                          <a:effectLst/>
                          <a:latin typeface="Arial"/>
                        </a:rPr>
                        <a:t>56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177248" marR="177248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noProof="0" smtClean="0">
                          <a:solidFill>
                            <a:srgbClr val="00B050"/>
                          </a:solidFill>
                          <a:effectLst/>
                          <a:latin typeface="+mn-lt"/>
                          <a:sym typeface="Wingdings"/>
                        </a:rPr>
                        <a:t>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59083" marR="59083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noProof="0" smtClean="0">
                          <a:effectLst/>
                          <a:latin typeface="Arial"/>
                        </a:rPr>
                        <a:t>3,6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59083" marR="59083" marT="0" marB="0" anchor="ctr">
                    <a:solidFill>
                      <a:srgbClr val="EAEAEA"/>
                    </a:solidFill>
                  </a:tcPr>
                </a:tc>
              </a:tr>
              <a:tr h="420193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0" i="0" u="none" strike="noStrike" noProof="0" dirty="0" smtClean="0">
                          <a:effectLst/>
                          <a:latin typeface="Arial"/>
                        </a:rPr>
                        <a:t>4104 - Couros e peles curtidos ou </a:t>
                      </a:r>
                      <a:r>
                        <a:rPr lang="pt-BR" sz="2000" b="0" i="0" u="none" strike="noStrike" noProof="0" dirty="0" err="1" smtClean="0">
                          <a:effectLst/>
                          <a:latin typeface="Arial"/>
                        </a:rPr>
                        <a:t>crust</a:t>
                      </a:r>
                      <a:r>
                        <a:rPr lang="pt-BR" sz="2000" b="0" i="0" u="none" strike="noStrike" noProof="0" dirty="0" smtClean="0">
                          <a:effectLst/>
                          <a:latin typeface="Arial"/>
                        </a:rPr>
                        <a:t>, de bovino, </a:t>
                      </a:r>
                      <a:r>
                        <a:rPr lang="pt-BR" sz="2000" b="0" i="0" u="none" strike="noStrike" noProof="0" dirty="0" err="1" smtClean="0">
                          <a:effectLst/>
                          <a:latin typeface="Arial"/>
                        </a:rPr>
                        <a:t>bufalo</a:t>
                      </a:r>
                      <a:r>
                        <a:rPr lang="pt-BR" sz="2000" b="0" i="0" u="none" strike="noStrike" noProof="0" dirty="0" smtClean="0">
                          <a:effectLst/>
                          <a:latin typeface="Arial"/>
                        </a:rPr>
                        <a:t>, ou</a:t>
                      </a:r>
                      <a:r>
                        <a:rPr lang="pt-BR" sz="2000" b="0" i="0" u="none" strike="noStrike" baseline="0" noProof="0" dirty="0" smtClean="0">
                          <a:effectLst/>
                          <a:latin typeface="Arial"/>
                        </a:rPr>
                        <a:t> </a:t>
                      </a:r>
                      <a:r>
                        <a:rPr lang="pt-BR" sz="2000" b="0" i="0" u="none" strike="noStrike" noProof="0" dirty="0" smtClean="0">
                          <a:effectLst/>
                          <a:latin typeface="Arial"/>
                        </a:rPr>
                        <a:t>de </a:t>
                      </a:r>
                      <a:r>
                        <a:rPr lang="pt-BR" sz="2000" b="0" i="0" u="none" strike="noStrike" noProof="0" dirty="0" smtClean="0">
                          <a:effectLst/>
                          <a:latin typeface="Arial"/>
                        </a:rPr>
                        <a:t>equino.</a:t>
                      </a:r>
                      <a:endParaRPr lang="pt-BR" sz="2000" b="0" i="0" u="none" strike="noStrike" noProof="0" dirty="0">
                        <a:effectLst/>
                        <a:latin typeface="Arial"/>
                      </a:endParaRPr>
                    </a:p>
                  </a:txBody>
                  <a:tcPr marL="15632" marR="15632" marT="1270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noProof="0" smtClean="0">
                          <a:effectLst/>
                          <a:latin typeface="Arial"/>
                        </a:rPr>
                        <a:t>-10%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15632" marR="177248" marT="1270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noProof="0" smtClean="0">
                          <a:effectLst/>
                          <a:latin typeface="Arial"/>
                        </a:rPr>
                        <a:t>46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177248" marR="177248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noProof="0" smtClean="0">
                          <a:solidFill>
                            <a:schemeClr val="accent6"/>
                          </a:solidFill>
                          <a:effectLst/>
                          <a:latin typeface="+mn-lt"/>
                          <a:sym typeface="Wingdings"/>
                        </a:rPr>
                        <a:t></a:t>
                      </a:r>
                      <a:endParaRPr lang="pt-BR" sz="2000" b="0" i="0" u="none" strike="noStrike" noProof="0">
                        <a:effectLst/>
                        <a:latin typeface="Arial"/>
                      </a:endParaRPr>
                    </a:p>
                  </a:txBody>
                  <a:tcPr marL="59083" marR="59083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noProof="0" dirty="0" smtClean="0">
                          <a:effectLst/>
                          <a:latin typeface="Arial"/>
                        </a:rPr>
                        <a:t>1,7   </a:t>
                      </a:r>
                      <a:endParaRPr lang="pt-BR" sz="2000" b="0" i="0" u="none" strike="noStrike" noProof="0" dirty="0">
                        <a:effectLst/>
                        <a:latin typeface="Arial"/>
                      </a:endParaRPr>
                    </a:p>
                  </a:txBody>
                  <a:tcPr marL="59083" marR="59083" marT="0" marB="0" anchor="ctr">
                    <a:solidFill>
                      <a:srgbClr val="EAEAEA"/>
                    </a:solidFill>
                  </a:tcPr>
                </a:tc>
              </a:tr>
              <a:tr h="420193">
                <a:tc>
                  <a:txBody>
                    <a:bodyPr/>
                    <a:lstStyle/>
                    <a:p>
                      <a:pPr algn="l" fontAlgn="b"/>
                      <a:r>
                        <a:rPr lang="es-ES" sz="2000" b="0" i="0" u="none" strike="noStrike" dirty="0">
                          <a:effectLst/>
                          <a:latin typeface="Arial"/>
                        </a:rPr>
                        <a:t>4107 - </a:t>
                      </a:r>
                      <a:r>
                        <a:rPr lang="es-ES" sz="2000" b="0" i="0" u="none" strike="noStrike" dirty="0" err="1" smtClean="0">
                          <a:effectLst/>
                          <a:latin typeface="Arial"/>
                        </a:rPr>
                        <a:t>Couros</a:t>
                      </a:r>
                      <a:r>
                        <a:rPr lang="es-ES" sz="2000" b="0" i="0" u="none" strike="noStrike" dirty="0" smtClean="0">
                          <a:effectLst/>
                          <a:latin typeface="Arial"/>
                        </a:rPr>
                        <a:t> </a:t>
                      </a:r>
                      <a:r>
                        <a:rPr lang="es-ES" sz="2000" b="0" i="0" u="none" strike="noStrike" dirty="0">
                          <a:effectLst/>
                          <a:latin typeface="Arial"/>
                        </a:rPr>
                        <a:t>preparados </a:t>
                      </a:r>
                      <a:r>
                        <a:rPr lang="es-ES" sz="2000" b="0" i="0" u="none" strike="noStrike" dirty="0" err="1" smtClean="0">
                          <a:effectLst/>
                          <a:latin typeface="Arial"/>
                        </a:rPr>
                        <a:t>ou</a:t>
                      </a:r>
                      <a:r>
                        <a:rPr lang="es-ES" sz="2000" b="0" i="0" u="none" strike="noStrike" dirty="0" smtClean="0">
                          <a:effectLst/>
                          <a:latin typeface="Arial"/>
                        </a:rPr>
                        <a:t> </a:t>
                      </a:r>
                      <a:r>
                        <a:rPr lang="es-ES" sz="2000" b="0" i="0" u="none" strike="noStrike" dirty="0">
                          <a:effectLst/>
                          <a:latin typeface="Arial"/>
                        </a:rPr>
                        <a:t>curtido </a:t>
                      </a:r>
                      <a:r>
                        <a:rPr lang="es-ES" sz="2000" b="0" i="0" u="none" strike="noStrike" dirty="0" err="1" smtClean="0">
                          <a:effectLst/>
                          <a:latin typeface="Arial"/>
                        </a:rPr>
                        <a:t>apos</a:t>
                      </a:r>
                      <a:r>
                        <a:rPr lang="es-ES" sz="2000" b="0" i="0" u="none" strike="noStrike" dirty="0" smtClean="0">
                          <a:effectLst/>
                          <a:latin typeface="Arial"/>
                        </a:rPr>
                        <a:t> o  </a:t>
                      </a:r>
                      <a:r>
                        <a:rPr lang="es-ES" sz="2000" b="0" i="0" u="none" strike="noStrike" dirty="0">
                          <a:effectLst/>
                          <a:latin typeface="Arial"/>
                        </a:rPr>
                        <a:t>secado </a:t>
                      </a:r>
                      <a:r>
                        <a:rPr lang="es-ES" sz="2000" b="0" i="0" u="none" strike="noStrike" dirty="0" smtClean="0">
                          <a:effectLst/>
                          <a:latin typeface="Arial"/>
                        </a:rPr>
                        <a:t>e </a:t>
                      </a:r>
                      <a:r>
                        <a:rPr lang="es-ES" sz="2000" b="0" i="0" u="none" strike="noStrike" dirty="0" err="1" smtClean="0">
                          <a:effectLst/>
                          <a:latin typeface="Arial"/>
                        </a:rPr>
                        <a:t>couros</a:t>
                      </a:r>
                      <a:r>
                        <a:rPr lang="es-ES" sz="2000" b="0" i="0" u="none" strike="noStrike" dirty="0" smtClean="0">
                          <a:effectLst/>
                          <a:latin typeface="Arial"/>
                        </a:rPr>
                        <a:t> </a:t>
                      </a:r>
                      <a:r>
                        <a:rPr lang="es-ES" sz="2000" b="0" i="0" u="none" strike="noStrike">
                          <a:effectLst/>
                          <a:latin typeface="Arial"/>
                        </a:rPr>
                        <a:t>e</a:t>
                      </a:r>
                      <a:r>
                        <a:rPr lang="es-ES" sz="2000" b="0" i="0" u="none" strike="noStrike" smtClean="0">
                          <a:effectLst/>
                          <a:latin typeface="Arial"/>
                        </a:rPr>
                        <a:t> </a:t>
                      </a:r>
                      <a:r>
                        <a:rPr lang="es-ES" sz="2000" b="0" i="0" u="none" strike="noStrike" smtClean="0">
                          <a:effectLst/>
                          <a:latin typeface="Arial"/>
                        </a:rPr>
                        <a:t>peles.</a:t>
                      </a:r>
                      <a:endParaRPr lang="es-ES" sz="2000" b="0" i="0" u="none" strike="noStrike" dirty="0">
                        <a:effectLst/>
                        <a:latin typeface="Arial"/>
                      </a:endParaRPr>
                    </a:p>
                  </a:txBody>
                  <a:tcPr marL="15632" marR="15632" marT="1270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ES" sz="2000" b="0" i="0" u="none" strike="noStrike" dirty="0">
                          <a:effectLst/>
                          <a:latin typeface="Arial"/>
                        </a:rPr>
                        <a:t>-10%</a:t>
                      </a:r>
                    </a:p>
                  </a:txBody>
                  <a:tcPr marL="15632" marR="177248" marT="1270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ES" sz="2000" b="0" i="0" u="none" strike="noStrike" dirty="0" smtClean="0">
                          <a:effectLst/>
                          <a:latin typeface="Arial"/>
                        </a:rPr>
                        <a:t>26</a:t>
                      </a:r>
                      <a:endParaRPr lang="es-ES" sz="2000" b="0" i="0" u="none" strike="noStrike" dirty="0">
                        <a:effectLst/>
                        <a:latin typeface="Arial"/>
                      </a:endParaRPr>
                    </a:p>
                  </a:txBody>
                  <a:tcPr marL="177248" marR="177248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2000" b="0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+mn-lt"/>
                          <a:sym typeface="Wingdings"/>
                        </a:rPr>
                        <a:t></a:t>
                      </a:r>
                      <a:endParaRPr lang="es-ES" sz="2000" b="0" i="0" u="none" strike="noStrike" dirty="0">
                        <a:effectLst/>
                        <a:latin typeface="Arial"/>
                      </a:endParaRPr>
                    </a:p>
                  </a:txBody>
                  <a:tcPr marL="59083" marR="59083" marT="0" marB="0" anchor="ctr"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2000" b="0" i="0" u="none" strike="noStrike" dirty="0" smtClean="0">
                          <a:effectLst/>
                          <a:latin typeface="Arial"/>
                        </a:rPr>
                        <a:t>1,7   </a:t>
                      </a:r>
                      <a:endParaRPr lang="es-ES" sz="2000" b="0" i="0" u="none" strike="noStrike" dirty="0">
                        <a:effectLst/>
                        <a:latin typeface="Arial"/>
                      </a:endParaRPr>
                    </a:p>
                  </a:txBody>
                  <a:tcPr marL="59083" marR="59083" marT="0" marB="0" anchor="ctr">
                    <a:solidFill>
                      <a:srgbClr val="EAEAEA"/>
                    </a:solidFill>
                  </a:tcPr>
                </a:tc>
              </a:tr>
            </a:tbl>
          </a:graphicData>
        </a:graphic>
      </p:graphicFrame>
      <p:cxnSp>
        <p:nvCxnSpPr>
          <p:cNvPr id="7" name="Straight Connector 6"/>
          <p:cNvCxnSpPr/>
          <p:nvPr/>
        </p:nvCxnSpPr>
        <p:spPr>
          <a:xfrm>
            <a:off x="232160" y="4153680"/>
            <a:ext cx="15778931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 rot="16200000" flipH="1">
            <a:off x="14093775" y="5796255"/>
            <a:ext cx="3682683" cy="397538"/>
          </a:xfrm>
          <a:prstGeom prst="rect">
            <a:avLst/>
          </a:prstGeom>
          <a:ln w="12700">
            <a:noFill/>
          </a:ln>
        </p:spPr>
        <p:txBody>
          <a:bodyPr wrap="square" lIns="138550" tIns="69275" rIns="138550" bIns="69275" rtlCol="0">
            <a:spAutoFit/>
          </a:bodyPr>
          <a:lstStyle/>
          <a:p>
            <a:pPr algn="ctr"/>
            <a:r>
              <a:rPr lang="es-ES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ioridade</a:t>
            </a:r>
            <a:r>
              <a:rPr lang="es-ES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2</a:t>
            </a:r>
          </a:p>
        </p:txBody>
      </p:sp>
      <p:sp>
        <p:nvSpPr>
          <p:cNvPr id="9" name="TextBox 8"/>
          <p:cNvSpPr txBox="1"/>
          <p:nvPr/>
        </p:nvSpPr>
        <p:spPr>
          <a:xfrm rot="16200000" flipH="1">
            <a:off x="15205261" y="3247337"/>
            <a:ext cx="1462225" cy="655172"/>
          </a:xfrm>
          <a:prstGeom prst="rect">
            <a:avLst/>
          </a:prstGeom>
          <a:ln w="12700">
            <a:noFill/>
          </a:ln>
        </p:spPr>
        <p:txBody>
          <a:bodyPr wrap="square" lIns="138550" tIns="69275" rIns="138550" bIns="69275" rtlCol="0">
            <a:spAutoFit/>
          </a:bodyPr>
          <a:lstStyle/>
          <a:p>
            <a:pPr algn="ctr"/>
            <a:r>
              <a:rPr lang="es-ES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ioridade</a:t>
            </a:r>
            <a:r>
              <a:rPr lang="es-ES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s-ES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</a:t>
            </a:r>
            <a:endParaRPr lang="es-ES" b="1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5" descr="Brasili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962" y="1043608"/>
            <a:ext cx="721625" cy="408000"/>
          </a:xfrm>
          <a:prstGeom prst="rect">
            <a:avLst/>
          </a:prstGeom>
          <a:noFill/>
          <a:ln w="12700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26277" y="251520"/>
            <a:ext cx="15007004" cy="720080"/>
          </a:xfrm>
          <a:solidFill>
            <a:srgbClr val="C00000"/>
          </a:solidFill>
        </p:spPr>
        <p:txBody>
          <a:bodyPr/>
          <a:lstStyle/>
          <a:p>
            <a:r>
              <a:rPr lang="es-ES" sz="2400" b="1" dirty="0" smtClean="0">
                <a:solidFill>
                  <a:schemeClr val="bg1"/>
                </a:solidFill>
              </a:rPr>
              <a:t>ADICIONALMENTE, PARA MUITOS BEMS PRODUZIDOS NO BRASIL, </a:t>
            </a:r>
            <a:br>
              <a:rPr lang="es-ES" sz="2400" b="1" dirty="0" smtClean="0">
                <a:solidFill>
                  <a:schemeClr val="bg1"/>
                </a:solidFill>
              </a:rPr>
            </a:br>
            <a:r>
              <a:rPr lang="es-ES" sz="2400" b="1" dirty="0" smtClean="0">
                <a:solidFill>
                  <a:schemeClr val="bg1"/>
                </a:solidFill>
              </a:rPr>
              <a:t>POR MEIO DO SGP+ O PARAGUAI OFERECE MAIS VANTAGENS</a:t>
            </a:r>
            <a:endParaRPr lang="es-ES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63418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16257588" cy="9144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32771" name="Text Box 2"/>
          <p:cNvSpPr txBox="1">
            <a:spLocks noChangeArrowheads="1"/>
          </p:cNvSpPr>
          <p:nvPr/>
        </p:nvSpPr>
        <p:spPr bwMode="auto">
          <a:xfrm>
            <a:off x="1936750" y="3300413"/>
            <a:ext cx="11703050" cy="94138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90000" tIns="45000" rIns="90000" bIns="45000"/>
          <a:lstStyle/>
          <a:p>
            <a:pPr algn="ctr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  <a:tab pos="9410700" algn="l"/>
                <a:tab pos="10134600" algn="l"/>
                <a:tab pos="10858500" algn="l"/>
                <a:tab pos="11582400" algn="l"/>
              </a:tabLst>
            </a:pPr>
            <a:r>
              <a:rPr lang="en-US" altLang="es-ES" sz="6000" b="1" dirty="0" smtClean="0">
                <a:solidFill>
                  <a:srgbClr val="002060"/>
                </a:solidFill>
                <a:latin typeface="ArialMT" pitchFamily="32" charset="0"/>
              </a:rPr>
              <a:t>Obrigado</a:t>
            </a:r>
            <a:endParaRPr lang="en-US" altLang="es-ES" sz="6000" b="1" dirty="0">
              <a:solidFill>
                <a:srgbClr val="002060"/>
              </a:solidFill>
              <a:latin typeface="ArialMT" pitchFamily="32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hLWdDP.0CMEyDFns6Rn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DwD_BlbU.p0uFQk9_N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JzkAO72U2vDYqUuP3S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M_QBNpdk2phw3IPT47h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8yH6EW0FkiwKp7pzybWA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SNSHpf30iB3lzkhTmu9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3NL0YqKt0W9STydosiTR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d0ZhLcUkyAaG94wOmxl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HIYA7OjE6sa_X8jjSE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569JajdUmMhZaCIvSa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DJwTfF10C5kwDNVqZU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7qQqI.NkWyj3CDt4Gx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vhWNGA8EyFJUaMtXF7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iSbgubTkWtsfXjuILwm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SQ.hRz7U6jKcWk8alF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0aC647EUWsWt67UoKZ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l109nmoEW8SL_RsSMCzg"/>
</p:tagLst>
</file>

<file path=ppt/theme/theme1.xml><?xml version="1.0" encoding="utf-8"?>
<a:theme xmlns:a="http://schemas.openxmlformats.org/drawingml/2006/main" name="Tema de Office">
  <a:themeElements>
    <a:clrScheme name="Tema de Offic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Tema de Office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altLang="es-ES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Microsoft YaHei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altLang="es-ES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Microsoft YaHei" charset="-122"/>
          </a:defRPr>
        </a:defPPr>
      </a:lstStyle>
    </a:lnDef>
  </a:objectDefaults>
  <a:extraClrSchemeLst>
    <a:extraClrScheme>
      <a:clrScheme name="Tema de Offic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a de Offic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6008</TotalTime>
  <Words>918</Words>
  <Application>Microsoft Office PowerPoint</Application>
  <PresentationFormat>Personalizado</PresentationFormat>
  <Paragraphs>219</Paragraphs>
  <Slides>8</Slides>
  <Notes>6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8</vt:i4>
      </vt:variant>
    </vt:vector>
  </HeadingPairs>
  <TitlesOfParts>
    <vt:vector size="11" baseType="lpstr">
      <vt:lpstr>Tema de Office</vt:lpstr>
      <vt:lpstr>think-cell Slide</vt:lpstr>
      <vt:lpstr>Chart</vt:lpstr>
      <vt:lpstr>Diapositiva 1</vt:lpstr>
      <vt:lpstr>Diapositiva 2</vt:lpstr>
      <vt:lpstr>Diapositiva 3</vt:lpstr>
      <vt:lpstr>Diapositiva 4</vt:lpstr>
      <vt:lpstr>Diapositiva 5</vt:lpstr>
      <vt:lpstr>ALEM DA SGP+, PARAGUAI OFERECE AS SIGUIENTES VANTAGEMS COMPETITIVAS</vt:lpstr>
      <vt:lpstr>ADICIONALMENTE, PARA MUITOS BEMS PRODUZIDOS NO BRASIL,  POR MEIO DO SGP+ O PARAGUAI OFERECE MAIS VANTAGENS</vt:lpstr>
      <vt:lpstr>Diapositiva 8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Victor Bernal; Enrique Garcia; Carlos Paredes</dc:creator>
  <cp:lastModifiedBy>vbernal</cp:lastModifiedBy>
  <cp:revision>244</cp:revision>
  <cp:lastPrinted>1601-01-01T00:00:00Z</cp:lastPrinted>
  <dcterms:created xsi:type="dcterms:W3CDTF">2013-01-07T17:24:22Z</dcterms:created>
  <dcterms:modified xsi:type="dcterms:W3CDTF">2014-02-18T12:35:04Z</dcterms:modified>
</cp:coreProperties>
</file>